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5"/>
    <p:sldMasterId id="2147483686" r:id="rId6"/>
    <p:sldMasterId id="2147483700" r:id="rId7"/>
  </p:sldMasterIdLst>
  <p:notesMasterIdLst>
    <p:notesMasterId r:id="rId36"/>
  </p:notesMasterIdLst>
  <p:sldIdLst>
    <p:sldId id="336" r:id="rId8"/>
    <p:sldId id="360" r:id="rId9"/>
    <p:sldId id="342" r:id="rId10"/>
    <p:sldId id="325" r:id="rId11"/>
    <p:sldId id="344" r:id="rId12"/>
    <p:sldId id="343" r:id="rId13"/>
    <p:sldId id="345" r:id="rId14"/>
    <p:sldId id="346" r:id="rId15"/>
    <p:sldId id="347" r:id="rId16"/>
    <p:sldId id="348" r:id="rId17"/>
    <p:sldId id="349" r:id="rId18"/>
    <p:sldId id="350" r:id="rId19"/>
    <p:sldId id="351" r:id="rId20"/>
    <p:sldId id="352" r:id="rId21"/>
    <p:sldId id="353" r:id="rId22"/>
    <p:sldId id="354" r:id="rId23"/>
    <p:sldId id="357" r:id="rId24"/>
    <p:sldId id="356" r:id="rId25"/>
    <p:sldId id="358" r:id="rId26"/>
    <p:sldId id="359" r:id="rId27"/>
    <p:sldId id="338" r:id="rId28"/>
    <p:sldId id="365" r:id="rId29"/>
    <p:sldId id="366" r:id="rId30"/>
    <p:sldId id="368" r:id="rId31"/>
    <p:sldId id="364" r:id="rId32"/>
    <p:sldId id="363" r:id="rId33"/>
    <p:sldId id="367" r:id="rId34"/>
    <p:sldId id="369"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ames Olson" initials="JO" lastIdx="4" clrIdx="0">
    <p:extLst>
      <p:ext uri="{19B8F6BF-5375-455C-9EA6-DF929625EA0E}">
        <p15:presenceInfo xmlns:p15="http://schemas.microsoft.com/office/powerpoint/2012/main" userId="James Olson" providerId="None"/>
      </p:ext>
    </p:extLst>
  </p:cmAuthor>
  <p:cmAuthor id="2" name="James Lee" initials="JL" lastIdx="1" clrIdx="1">
    <p:extLst>
      <p:ext uri="{19B8F6BF-5375-455C-9EA6-DF929625EA0E}">
        <p15:presenceInfo xmlns:p15="http://schemas.microsoft.com/office/powerpoint/2012/main" userId="bd3801e656f272da"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E425C"/>
    <a:srgbClr val="D2D2D2"/>
    <a:srgbClr val="F6F7F8"/>
    <a:srgbClr val="767777"/>
    <a:srgbClr val="737373"/>
    <a:srgbClr val="307AB3"/>
    <a:srgbClr val="B3DBF2"/>
    <a:srgbClr val="3BA2D5"/>
    <a:srgbClr val="3E92D2"/>
    <a:srgbClr val="AA9BE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587" autoAdjust="0"/>
    <p:restoredTop sz="69901" autoAdjust="0"/>
  </p:normalViewPr>
  <p:slideViewPr>
    <p:cSldViewPr snapToGrid="0">
      <p:cViewPr varScale="1">
        <p:scale>
          <a:sx n="77" d="100"/>
          <a:sy n="77" d="100"/>
        </p:scale>
        <p:origin x="1332" y="78"/>
      </p:cViewPr>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7"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4329A03-FD4D-4D86-A42F-04DABD9646D4}" type="datetimeFigureOut">
              <a:rPr lang="en-US" smtClean="0"/>
              <a:t>5/25/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6D1E034-5232-41F8-B991-F18E5FA0EB1B}" type="slidenum">
              <a:rPr lang="en-US" smtClean="0"/>
              <a:t>‹#›</a:t>
            </a:fld>
            <a:endParaRPr lang="en-US"/>
          </a:p>
        </p:txBody>
      </p:sp>
    </p:spTree>
    <p:extLst>
      <p:ext uri="{BB962C8B-B14F-4D97-AF65-F5344CB8AC3E}">
        <p14:creationId xmlns:p14="http://schemas.microsoft.com/office/powerpoint/2010/main" val="1586337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p:txBody>
      </p:sp>
      <p:sp>
        <p:nvSpPr>
          <p:cNvPr id="4" name="Slide Number Placeholder 3"/>
          <p:cNvSpPr>
            <a:spLocks noGrp="1"/>
          </p:cNvSpPr>
          <p:nvPr>
            <p:ph type="sldNum" sz="quarter" idx="10"/>
          </p:nvPr>
        </p:nvSpPr>
        <p:spPr/>
        <p:txBody>
          <a:bodyPr/>
          <a:lstStyle/>
          <a:p>
            <a:fld id="{B6D1E034-5232-41F8-B991-F18E5FA0EB1B}" type="slidenum">
              <a:rPr lang="en-US" smtClean="0"/>
              <a:t>1</a:t>
            </a:fld>
            <a:endParaRPr lang="en-US"/>
          </a:p>
        </p:txBody>
      </p:sp>
    </p:spTree>
    <p:extLst>
      <p:ext uri="{BB962C8B-B14F-4D97-AF65-F5344CB8AC3E}">
        <p14:creationId xmlns:p14="http://schemas.microsoft.com/office/powerpoint/2010/main" val="12877997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6D1E034-5232-41F8-B991-F18E5FA0EB1B}" type="slidenum">
              <a:rPr lang="en-US" smtClean="0"/>
              <a:t>10</a:t>
            </a:fld>
            <a:endParaRPr lang="en-US"/>
          </a:p>
        </p:txBody>
      </p:sp>
    </p:spTree>
    <p:extLst>
      <p:ext uri="{BB962C8B-B14F-4D97-AF65-F5344CB8AC3E}">
        <p14:creationId xmlns:p14="http://schemas.microsoft.com/office/powerpoint/2010/main" val="6745250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6D1E034-5232-41F8-B991-F18E5FA0EB1B}" type="slidenum">
              <a:rPr lang="en-US" smtClean="0"/>
              <a:t>12</a:t>
            </a:fld>
            <a:endParaRPr lang="en-US"/>
          </a:p>
        </p:txBody>
      </p:sp>
    </p:spTree>
    <p:extLst>
      <p:ext uri="{BB962C8B-B14F-4D97-AF65-F5344CB8AC3E}">
        <p14:creationId xmlns:p14="http://schemas.microsoft.com/office/powerpoint/2010/main" val="16996800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6D1E034-5232-41F8-B991-F18E5FA0EB1B}" type="slidenum">
              <a:rPr lang="en-US" smtClean="0"/>
              <a:t>14</a:t>
            </a:fld>
            <a:endParaRPr lang="en-US"/>
          </a:p>
        </p:txBody>
      </p:sp>
    </p:spTree>
    <p:extLst>
      <p:ext uri="{BB962C8B-B14F-4D97-AF65-F5344CB8AC3E}">
        <p14:creationId xmlns:p14="http://schemas.microsoft.com/office/powerpoint/2010/main" val="39654643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need examples of the answer in order to predict the next answer.</a:t>
            </a:r>
          </a:p>
          <a:p>
            <a:endParaRPr lang="en-US" dirty="0"/>
          </a:p>
          <a:p>
            <a:r>
              <a:rPr lang="en-US" dirty="0"/>
              <a:t>If we don’t have the relevant data, we won’t be able to predict what we want.</a:t>
            </a:r>
          </a:p>
        </p:txBody>
      </p:sp>
      <p:sp>
        <p:nvSpPr>
          <p:cNvPr id="4" name="Slide Number Placeholder 3"/>
          <p:cNvSpPr>
            <a:spLocks noGrp="1"/>
          </p:cNvSpPr>
          <p:nvPr>
            <p:ph type="sldNum" sz="quarter" idx="10"/>
          </p:nvPr>
        </p:nvSpPr>
        <p:spPr/>
        <p:txBody>
          <a:bodyPr/>
          <a:lstStyle/>
          <a:p>
            <a:fld id="{B6D1E034-5232-41F8-B991-F18E5FA0EB1B}" type="slidenum">
              <a:rPr lang="en-US" smtClean="0"/>
              <a:t>17</a:t>
            </a:fld>
            <a:endParaRPr lang="en-US"/>
          </a:p>
        </p:txBody>
      </p:sp>
    </p:spTree>
    <p:extLst>
      <p:ext uri="{BB962C8B-B14F-4D97-AF65-F5344CB8AC3E}">
        <p14:creationId xmlns:p14="http://schemas.microsoft.com/office/powerpoint/2010/main" val="12286331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magine you found a magic lamp with a genie who will truthfully answer any question you ask. </a:t>
            </a:r>
          </a:p>
          <a:p>
            <a:r>
              <a:rPr lang="en-US" sz="1200" b="0" i="0" kern="1200" dirty="0">
                <a:solidFill>
                  <a:schemeClr val="tx1"/>
                </a:solidFill>
                <a:effectLst/>
                <a:latin typeface="+mn-lt"/>
                <a:ea typeface="+mn-ea"/>
                <a:cs typeface="+mn-cs"/>
              </a:rPr>
              <a:t>But it's a mischievous genie, and he'll try to make his answer as vague and confusing as he can get away with. </a:t>
            </a:r>
          </a:p>
          <a:p>
            <a:r>
              <a:rPr lang="en-US" sz="1200" b="0" i="0" kern="1200" dirty="0">
                <a:solidFill>
                  <a:schemeClr val="tx1"/>
                </a:solidFill>
                <a:effectLst/>
                <a:latin typeface="+mn-lt"/>
                <a:ea typeface="+mn-ea"/>
                <a:cs typeface="+mn-cs"/>
              </a:rPr>
              <a:t>You want to pin him down with a question so airtight that he can't help but tell you what you want to know.</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f you were to ask a vague question, like "What's going to happen with my stock?", the genie might answer, "The price will change". </a:t>
            </a:r>
          </a:p>
          <a:p>
            <a:r>
              <a:rPr lang="en-US" sz="1200" b="0" i="0" kern="1200" dirty="0">
                <a:solidFill>
                  <a:schemeClr val="tx1"/>
                </a:solidFill>
                <a:effectLst/>
                <a:latin typeface="+mn-lt"/>
                <a:ea typeface="+mn-ea"/>
                <a:cs typeface="+mn-cs"/>
              </a:rPr>
              <a:t>That's a truthful answer, but it's not very helpful.</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But if you were to ask a sharp question, like "What will my stock's sale price be next week?", the genie can't help but give you a specific answer and predict a sale price.</a:t>
            </a:r>
            <a:endParaRPr lang="en-US" dirty="0"/>
          </a:p>
          <a:p>
            <a:endParaRPr lang="en-US" dirty="0"/>
          </a:p>
        </p:txBody>
      </p:sp>
      <p:sp>
        <p:nvSpPr>
          <p:cNvPr id="4" name="Slide Number Placeholder 3"/>
          <p:cNvSpPr>
            <a:spLocks noGrp="1"/>
          </p:cNvSpPr>
          <p:nvPr>
            <p:ph type="sldNum" sz="quarter" idx="10"/>
          </p:nvPr>
        </p:nvSpPr>
        <p:spPr/>
        <p:txBody>
          <a:bodyPr/>
          <a:lstStyle/>
          <a:p>
            <a:fld id="{B6D1E034-5232-41F8-B991-F18E5FA0EB1B}" type="slidenum">
              <a:rPr lang="en-US" smtClean="0"/>
              <a:t>18</a:t>
            </a:fld>
            <a:endParaRPr lang="en-US"/>
          </a:p>
        </p:txBody>
      </p:sp>
    </p:spTree>
    <p:extLst>
      <p:ext uri="{BB962C8B-B14F-4D97-AF65-F5344CB8AC3E}">
        <p14:creationId xmlns:p14="http://schemas.microsoft.com/office/powerpoint/2010/main" val="3406896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o see how we can transform these, let's look at the question, "Which news story is the most interesting to this reader?" It asks for a prediction of a single choice from many possibilities - in other words "Is this A or B or C or D?" - and would use a classification algorithm.</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But, this question may be easier to answer if you reword it as "How interesting is each story on this list to this reader?" Now you can give each article a numerical score, and then it's easy to identify the highest-scoring article. This is a rephrasing of the classification question into a regression question or How much?</a:t>
            </a:r>
          </a:p>
          <a:p>
            <a:br>
              <a:rPr lang="en-US" dirty="0"/>
            </a:br>
            <a:r>
              <a:rPr lang="en-US" sz="1200" b="0" i="0" kern="1200" dirty="0">
                <a:solidFill>
                  <a:schemeClr val="tx1"/>
                </a:solidFill>
                <a:effectLst/>
                <a:latin typeface="+mn-lt"/>
                <a:ea typeface="+mn-ea"/>
                <a:cs typeface="+mn-cs"/>
              </a:rPr>
              <a:t>You'll find that certain families of algorithms - like the ones in our news story example - are closely related. You can reformulate your question to use the algorithm that gives you the most useful answer.</a:t>
            </a:r>
          </a:p>
          <a:p>
            <a:br>
              <a:rPr lang="en-US" dirty="0"/>
            </a:br>
            <a:endParaRPr lang="en-US" dirty="0"/>
          </a:p>
        </p:txBody>
      </p:sp>
      <p:sp>
        <p:nvSpPr>
          <p:cNvPr id="4" name="Slide Number Placeholder 3"/>
          <p:cNvSpPr>
            <a:spLocks noGrp="1"/>
          </p:cNvSpPr>
          <p:nvPr>
            <p:ph type="sldNum" sz="quarter" idx="10"/>
          </p:nvPr>
        </p:nvSpPr>
        <p:spPr/>
        <p:txBody>
          <a:bodyPr/>
          <a:lstStyle/>
          <a:p>
            <a:fld id="{B6D1E034-5232-41F8-B991-F18E5FA0EB1B}" type="slidenum">
              <a:rPr lang="en-US" smtClean="0"/>
              <a:t>19</a:t>
            </a:fld>
            <a:endParaRPr lang="en-US"/>
          </a:p>
        </p:txBody>
      </p:sp>
    </p:spTree>
    <p:extLst>
      <p:ext uri="{BB962C8B-B14F-4D97-AF65-F5344CB8AC3E}">
        <p14:creationId xmlns:p14="http://schemas.microsoft.com/office/powerpoint/2010/main" val="15783214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 Demo bot &gt; cognitive &gt; </a:t>
            </a:r>
            <a:r>
              <a:rPr lang="en-SG" dirty="0" err="1"/>
              <a:t>luis</a:t>
            </a:r>
            <a:endParaRPr lang="en-SG" dirty="0"/>
          </a:p>
        </p:txBody>
      </p:sp>
      <p:sp>
        <p:nvSpPr>
          <p:cNvPr id="4" name="Slide Number Placeholder 3"/>
          <p:cNvSpPr>
            <a:spLocks noGrp="1"/>
          </p:cNvSpPr>
          <p:nvPr>
            <p:ph type="sldNum" sz="quarter" idx="10"/>
          </p:nvPr>
        </p:nvSpPr>
        <p:spPr/>
        <p:txBody>
          <a:bodyPr/>
          <a:lstStyle/>
          <a:p>
            <a:fld id="{B6D1E034-5232-41F8-B991-F18E5FA0EB1B}" type="slidenum">
              <a:rPr lang="en-US" smtClean="0"/>
              <a:t>21</a:t>
            </a:fld>
            <a:endParaRPr lang="en-US"/>
          </a:p>
        </p:txBody>
      </p:sp>
    </p:spTree>
    <p:extLst>
      <p:ext uri="{BB962C8B-B14F-4D97-AF65-F5344CB8AC3E}">
        <p14:creationId xmlns:p14="http://schemas.microsoft.com/office/powerpoint/2010/main" val="20559985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b="0" kern="1200" baseline="0" dirty="0">
                <a:solidFill>
                  <a:schemeClr val="tx1"/>
                </a:solidFill>
                <a:effectLst/>
                <a:latin typeface="Segoe UI Light" pitchFamily="34" charset="0"/>
                <a:ea typeface="+mn-ea"/>
                <a:cs typeface="+mn-cs"/>
              </a:rPr>
              <a:t>Machine Learning is a term that is not widely understood, perhaps you think of it as artificial intelligence or robotics or any number of things. It’s helpful to start with how Microsoft thinks of machine learning. Machine learning means computers that become smarter with experience. What do we mean by </a:t>
            </a:r>
            <a:r>
              <a:rPr lang="en-US" sz="900" b="1" kern="1200" baseline="0" dirty="0">
                <a:solidFill>
                  <a:schemeClr val="tx1"/>
                </a:solidFill>
                <a:effectLst/>
                <a:latin typeface="Segoe UI Light" pitchFamily="34" charset="0"/>
                <a:ea typeface="+mn-ea"/>
                <a:cs typeface="+mn-cs"/>
              </a:rPr>
              <a:t>experience</a:t>
            </a:r>
            <a:r>
              <a:rPr lang="en-US" sz="900" b="0" kern="1200" baseline="0" dirty="0">
                <a:solidFill>
                  <a:schemeClr val="tx1"/>
                </a:solidFill>
                <a:effectLst/>
                <a:latin typeface="Segoe UI Light" pitchFamily="34" charset="0"/>
                <a:ea typeface="+mn-ea"/>
                <a:cs typeface="+mn-cs"/>
              </a:rPr>
              <a:t>? </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b="0" kern="1200" baseline="0" dirty="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900" b="0" kern="1200" baseline="0" dirty="0">
                <a:solidFill>
                  <a:schemeClr val="tx1"/>
                </a:solidFill>
                <a:effectLst/>
                <a:latin typeface="Segoe UI Light" pitchFamily="34" charset="0"/>
                <a:ea typeface="+mn-ea"/>
                <a:cs typeface="+mn-cs"/>
              </a:rPr>
              <a:t>Experience is past data + human input. And that </a:t>
            </a:r>
            <a:r>
              <a:rPr lang="en-US" sz="900" b="1" kern="1200" baseline="0" dirty="0">
                <a:solidFill>
                  <a:schemeClr val="tx1"/>
                </a:solidFill>
                <a:effectLst/>
                <a:latin typeface="Segoe UI Light" pitchFamily="34" charset="0"/>
                <a:ea typeface="+mn-ea"/>
                <a:cs typeface="+mn-cs"/>
              </a:rPr>
              <a:t>past data </a:t>
            </a:r>
            <a:r>
              <a:rPr lang="en-US" sz="900" b="0" kern="1200" baseline="0" dirty="0">
                <a:solidFill>
                  <a:schemeClr val="tx1"/>
                </a:solidFill>
                <a:effectLst/>
                <a:latin typeface="Segoe UI Light" pitchFamily="34" charset="0"/>
                <a:ea typeface="+mn-ea"/>
                <a:cs typeface="+mn-cs"/>
              </a:rPr>
              <a:t>is often huge – the quantity of data is doubling about every 18 months and that’s only increasing from here. Computers can consider far more variables than a human making the same decision. </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b="0" kern="1200" baseline="0" dirty="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900" b="0" kern="1200" baseline="0" dirty="0">
                <a:solidFill>
                  <a:schemeClr val="tx1"/>
                </a:solidFill>
                <a:effectLst/>
                <a:latin typeface="Segoe UI Light" pitchFamily="34" charset="0"/>
                <a:ea typeface="+mn-ea"/>
                <a:cs typeface="+mn-cs"/>
              </a:rPr>
              <a:t>And what do we mean by </a:t>
            </a:r>
            <a:r>
              <a:rPr lang="en-US" sz="900" b="1" kern="1200" baseline="0" dirty="0">
                <a:solidFill>
                  <a:schemeClr val="tx1"/>
                </a:solidFill>
                <a:effectLst/>
                <a:latin typeface="Segoe UI Light" pitchFamily="34" charset="0"/>
                <a:ea typeface="+mn-ea"/>
                <a:cs typeface="+mn-cs"/>
              </a:rPr>
              <a:t>human input</a:t>
            </a:r>
            <a:r>
              <a:rPr lang="en-US" sz="900" b="0" kern="1200" baseline="0" dirty="0">
                <a:solidFill>
                  <a:schemeClr val="tx1"/>
                </a:solidFill>
                <a:effectLst/>
                <a:latin typeface="Segoe UI Light" pitchFamily="34" charset="0"/>
                <a:ea typeface="+mn-ea"/>
                <a:cs typeface="+mn-cs"/>
              </a:rPr>
              <a:t>? Human input takes two forms – the input of the user who is either communicating that the output is what they are looking to see or not. In the case that it’s not, the machine can either self-adjust to deliver better results moving forward or the advanced analytic developer or data scientist can make those changes to the model. Let’s look at examples from our own work over many years. </a:t>
            </a:r>
            <a:endParaRPr lang="en-US" baseline="0" dirty="0"/>
          </a:p>
          <a:p>
            <a:pPr marL="0" marR="0" indent="0" algn="l" defTabSz="932742" rtl="0" eaLnBrk="1" fontAlgn="auto" latinLnBrk="0" hangingPunct="1">
              <a:lnSpc>
                <a:spcPct val="90000"/>
              </a:lnSpc>
              <a:spcBef>
                <a:spcPts val="0"/>
              </a:spcBef>
              <a:spcAft>
                <a:spcPts val="340"/>
              </a:spcAft>
              <a:buClrTx/>
              <a:buSzTx/>
              <a:buFontTx/>
              <a:buNone/>
              <a:tabLst/>
              <a:defRPr/>
            </a:pPr>
            <a:endParaRPr lang="en-US" b="0" baseline="0" dirty="0"/>
          </a:p>
          <a:p>
            <a:pPr marL="0" marR="0" indent="0" algn="l" defTabSz="932742" rtl="0" eaLnBrk="1" fontAlgn="auto" latinLnBrk="0" hangingPunct="1">
              <a:lnSpc>
                <a:spcPct val="90000"/>
              </a:lnSpc>
              <a:spcBef>
                <a:spcPts val="0"/>
              </a:spcBef>
              <a:spcAft>
                <a:spcPts val="340"/>
              </a:spcAft>
              <a:buClrTx/>
              <a:buSzTx/>
              <a:buFontTx/>
              <a:buNone/>
              <a:tabLst/>
              <a:defRPr/>
            </a:pPr>
            <a:r>
              <a:rPr lang="en-US" b="0" i="1" baseline="0" dirty="0"/>
              <a:t>WASH video: </a:t>
            </a:r>
          </a:p>
          <a:p>
            <a:pPr marL="0" marR="0" indent="0" algn="l" defTabSz="932742" rtl="0" eaLnBrk="1" fontAlgn="auto" latinLnBrk="0" hangingPunct="1">
              <a:lnSpc>
                <a:spcPct val="90000"/>
              </a:lnSpc>
              <a:spcBef>
                <a:spcPts val="0"/>
              </a:spcBef>
              <a:spcAft>
                <a:spcPts val="340"/>
              </a:spcAft>
              <a:buClrTx/>
              <a:buSzTx/>
              <a:buFontTx/>
              <a:buNone/>
              <a:tabLst/>
              <a:defRPr/>
            </a:pPr>
            <a:r>
              <a:rPr lang="en-US" b="0" baseline="0" dirty="0"/>
              <a:t>https://www.youtube.com/watch?v=iIYU1Xfhr8g&amp;feature=youtu.be</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0" baseline="0" dirty="0"/>
          </a:p>
          <a:p>
            <a:pPr marL="0" marR="0" indent="0" algn="l" defTabSz="932742" rtl="0" eaLnBrk="1" fontAlgn="auto" latinLnBrk="0" hangingPunct="1">
              <a:lnSpc>
                <a:spcPct val="90000"/>
              </a:lnSpc>
              <a:spcBef>
                <a:spcPts val="0"/>
              </a:spcBef>
              <a:spcAft>
                <a:spcPts val="340"/>
              </a:spcAft>
              <a:buClrTx/>
              <a:buSzTx/>
              <a:buFontTx/>
              <a:buNone/>
              <a:tabLst/>
              <a:defRPr/>
            </a:pPr>
            <a:endParaRPr lang="en-US" b="0" baseline="0" dirty="0"/>
          </a:p>
          <a:p>
            <a:endParaRPr lang="en-US" baseline="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5/2017 2:2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684198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Microsoft has been working on machine</a:t>
            </a:r>
            <a:r>
              <a:rPr lang="en-US" baseline="0" dirty="0"/>
              <a:t> learning for over two decades. We formed Microsoft research back in 1991 to tackle the tough problems internally that we’re enabling you to tackle yourselves today. </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When we think of learning from experience – past data + human input – a great example is Hotmail. Back in 1997, external email was a relatively new concept. There wasn’t a lot to go on in terms of what email the customer wants and what they do not. With the rise of email, also came spam – and lots of it. Some of those issues were easy – like Nigerian princes we learned pretty quickly don’t give away their fortunes to strangers. But what about “free offer” – maybe that free offer is something the customer always wanted. Maybe it’s something they’d never want. But that’s where the “human input” part comes in as data is being collected – that takes the form of the actual user of the email service saying “yes, this is junk” or “no, I want this” and then the data scientist learning in aggregate and making tweaks to the underlying model in response. </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And we kept going with that learning – relying on past data and human input to solve problems like the best way home, which search results are most meaningful to the user and one of the toughest ones to tackle with Kinect. Kinect’s past data was all in the lab – we didn’t have a product in market that captured user input and translated that to active game play so we had to make up the variables. But that only takes us so far. The researchers told me that one thing they didn’t consider was people answering the phone while playing. This happens a lot – and Kinect at first was translating this as a wild motion in the game play – essentially crashing people’s cars or any number of unintended consequences. That was the human input we rely on, which allowed us to learn quickly and adjust the underlying model to ensure that answering the phone would not be considered part of the game moving forward. </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Skype translator is another huge machine learning problem to solve if you think of all the ways a person who is speaking English can pronounce the same word – tom-A-to or tom-AH-to – that’s the same word in French so Skype has to adjust quickly to ensure all the millions of variables are considered. </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a:t>But what about using all this learning to </a:t>
            </a:r>
            <a:r>
              <a:rPr lang="en-US" b="1" baseline="0" dirty="0"/>
              <a:t>predict what’s next</a:t>
            </a:r>
            <a:r>
              <a:rPr lang="en-US" baseline="0" dirty="0"/>
              <a:t>? Many of the same algorithms running behind the scenes of our products in market today are available within Azure ML, allowing you to take your own past data and learn from it what will happen in the future for your business. </a:t>
            </a:r>
          </a:p>
          <a:p>
            <a:pPr marL="0" indent="0">
              <a:buFont typeface="Arial" panose="020B0604020202020204" pitchFamily="34" charset="0"/>
              <a:buNone/>
            </a:pPr>
            <a:endParaRPr lang="en-US" baseline="0" dirty="0"/>
          </a:p>
          <a:p>
            <a:pPr marL="0" indent="0">
              <a:buFont typeface="Arial" panose="020B0604020202020204" pitchFamily="34" charset="0"/>
              <a:buNone/>
            </a:pPr>
            <a:endParaRPr lang="en-US" baseline="0" dirty="0"/>
          </a:p>
          <a:p>
            <a:pPr marL="0" indent="0">
              <a:buFont typeface="Arial" panose="020B0604020202020204" pitchFamily="34" charset="0"/>
              <a:buNone/>
            </a:pPr>
            <a:endParaRPr lang="en-US" baseline="0" dirty="0"/>
          </a:p>
          <a:p>
            <a:pPr marL="0" indent="0">
              <a:buFont typeface="Arial" panose="020B0604020202020204" pitchFamily="34" charset="0"/>
              <a:buNone/>
            </a:pPr>
            <a:endParaRPr lang="en-US" baseline="0" dirty="0"/>
          </a:p>
          <a:p>
            <a:pPr marL="0" indent="0">
              <a:buFont typeface="Arial" panose="020B0604020202020204" pitchFamily="34" charset="0"/>
              <a:buNone/>
            </a:pP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5/2017 2:21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806291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6413" y="904875"/>
            <a:ext cx="8035926" cy="4519613"/>
          </a:xfrm>
        </p:spPr>
      </p:sp>
      <p:sp>
        <p:nvSpPr>
          <p:cNvPr id="3" name="Notes Placeholder 2"/>
          <p:cNvSpPr>
            <a:spLocks noGrp="1"/>
          </p:cNvSpPr>
          <p:nvPr>
            <p:ph type="body" idx="1"/>
          </p:nvPr>
        </p:nvSpPr>
        <p:spPr/>
        <p:txBody>
          <a:bodyPr/>
          <a:lstStyle/>
          <a:p>
            <a:pPr marL="0" indent="0">
              <a:buFont typeface="Arial"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713303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 Demo bot &gt; cognitive &gt; </a:t>
            </a:r>
            <a:r>
              <a:rPr lang="en-SG" dirty="0" err="1"/>
              <a:t>luis</a:t>
            </a:r>
            <a:endParaRPr lang="en-SG" dirty="0"/>
          </a:p>
        </p:txBody>
      </p:sp>
      <p:sp>
        <p:nvSpPr>
          <p:cNvPr id="4" name="Slide Number Placeholder 3"/>
          <p:cNvSpPr>
            <a:spLocks noGrp="1"/>
          </p:cNvSpPr>
          <p:nvPr>
            <p:ph type="sldNum" sz="quarter" idx="10"/>
          </p:nvPr>
        </p:nvSpPr>
        <p:spPr/>
        <p:txBody>
          <a:bodyPr/>
          <a:lstStyle/>
          <a:p>
            <a:fld id="{B6D1E034-5232-41F8-B991-F18E5FA0EB1B}" type="slidenum">
              <a:rPr lang="en-US" smtClean="0"/>
              <a:t>2</a:t>
            </a:fld>
            <a:endParaRPr lang="en-US"/>
          </a:p>
        </p:txBody>
      </p:sp>
    </p:spTree>
    <p:extLst>
      <p:ext uri="{BB962C8B-B14F-4D97-AF65-F5344CB8AC3E}">
        <p14:creationId xmlns:p14="http://schemas.microsoft.com/office/powerpoint/2010/main" val="168845656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p:txBody>
      </p:sp>
      <p:sp>
        <p:nvSpPr>
          <p:cNvPr id="4" name="Slide Number Placeholder 3"/>
          <p:cNvSpPr>
            <a:spLocks noGrp="1"/>
          </p:cNvSpPr>
          <p:nvPr>
            <p:ph type="sldNum" sz="quarter" idx="10"/>
          </p:nvPr>
        </p:nvSpPr>
        <p:spPr/>
        <p:txBody>
          <a:bodyPr/>
          <a:lstStyle/>
          <a:p>
            <a:fld id="{B6D1E034-5232-41F8-B991-F18E5FA0EB1B}" type="slidenum">
              <a:rPr lang="en-US" smtClean="0"/>
              <a:t>25</a:t>
            </a:fld>
            <a:endParaRPr lang="en-US"/>
          </a:p>
        </p:txBody>
      </p:sp>
    </p:spTree>
    <p:extLst>
      <p:ext uri="{BB962C8B-B14F-4D97-AF65-F5344CB8AC3E}">
        <p14:creationId xmlns:p14="http://schemas.microsoft.com/office/powerpoint/2010/main" val="24606640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tually it is</a:t>
            </a:r>
            <a:r>
              <a:rPr lang="en-US" baseline="0" dirty="0"/>
              <a:t> the science on data</a:t>
            </a:r>
            <a:endParaRPr lang="en-US" dirty="0"/>
          </a:p>
        </p:txBody>
      </p:sp>
      <p:sp>
        <p:nvSpPr>
          <p:cNvPr id="4" name="Slide Number Placeholder 3"/>
          <p:cNvSpPr>
            <a:spLocks noGrp="1"/>
          </p:cNvSpPr>
          <p:nvPr>
            <p:ph type="sldNum" sz="quarter" idx="10"/>
          </p:nvPr>
        </p:nvSpPr>
        <p:spPr/>
        <p:txBody>
          <a:bodyPr/>
          <a:lstStyle/>
          <a:p>
            <a:fld id="{39B346B2-E8EF-43C1-9AB2-48101FFD65C8}" type="slidenum">
              <a:rPr lang="en-US" smtClean="0"/>
              <a:t>26</a:t>
            </a:fld>
            <a:endParaRPr lang="en-US"/>
          </a:p>
        </p:txBody>
      </p:sp>
    </p:spTree>
    <p:extLst>
      <p:ext uri="{BB962C8B-B14F-4D97-AF65-F5344CB8AC3E}">
        <p14:creationId xmlns:p14="http://schemas.microsoft.com/office/powerpoint/2010/main" val="73953116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baseline="0" dirty="0"/>
              <a:t>So let’s take a look at </a:t>
            </a:r>
            <a:r>
              <a:rPr lang="en-US" baseline="0" dirty="0"/>
              <a:t>the technology itself. The elegance of the solution is in its simplicity – something that has been lacking in the machine learning space which is a key reason this space has not improved in generations. But we are here to change this. </a:t>
            </a:r>
          </a:p>
          <a:p>
            <a:endParaRPr lang="en-US" baseline="0" dirty="0"/>
          </a:p>
          <a:p>
            <a:r>
              <a:rPr lang="en-US" baseline="0" dirty="0"/>
              <a:t>The first issue many enterprises face is data ingestion. With the cloud, you can bring in data sources with the ease of a drop down or drop your on-premises data set into the built in storage space. Users can then model in our development environment – Machine Learning Studio – where we’re offering R, Python and SQLite as first class citizens in addition to our world-class Microsoft algorithms. </a:t>
            </a:r>
          </a:p>
          <a:p>
            <a:endParaRPr lang="en-US" baseline="0" dirty="0"/>
          </a:p>
          <a:p>
            <a:r>
              <a:rPr lang="en-US" baseline="0" dirty="0"/>
              <a:t>The second issue – and often the primary one – is putting finished work into production in a way others can use. We’ve heard from many data scientists that they model in R on a Linux stack but then have to hand over their work to developers who need to translate that into another language to actually make it work. This time consuming and unnecessary process has been eliminated with our system, as the model is with a click transformed into a web service end-point that can run over any data, anywhere and connect to any solution or client. </a:t>
            </a:r>
          </a:p>
          <a:p>
            <a:endParaRPr lang="en-US" baseline="0" dirty="0"/>
          </a:p>
          <a:p>
            <a:r>
              <a:rPr lang="en-US" baseline="0" dirty="0"/>
              <a:t>Next, not only can this model be put into production for your company, it can be made available for the world on our Machine Learning Marketplace. Microsoft hosts your solution and markets it for you, while you have the freedom to brand and monetize as you see fit. We also offer a number of Microsoft solutions here.</a:t>
            </a:r>
          </a:p>
          <a:p>
            <a:endParaRPr lang="en-US" baseline="0" dirty="0"/>
          </a:p>
          <a:p>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088D5E3-B0C4-244E-905F-C9848084E0A1}"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239271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56322"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sz="1000" b="1" kern="1200" dirty="0">
                <a:solidFill>
                  <a:schemeClr val="tx1"/>
                </a:solidFill>
                <a:effectLst/>
                <a:latin typeface="+mn-lt"/>
                <a:ea typeface="MS PGothic" panose="020B0600070205080204" pitchFamily="34" charset="-128"/>
                <a:cs typeface="ＭＳ Ｐゴシック" charset="0"/>
              </a:rPr>
              <a:t>Key Points:</a:t>
            </a:r>
            <a:endParaRPr lang="en-US" sz="10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000" kern="1200" dirty="0">
                <a:solidFill>
                  <a:schemeClr val="tx1"/>
                </a:solidFill>
                <a:effectLst/>
                <a:latin typeface="+mn-lt"/>
                <a:ea typeface="MS PGothic" panose="020B0600070205080204" pitchFamily="34" charset="-128"/>
                <a:cs typeface="ＭＳ Ｐゴシック" charset="0"/>
              </a:rPr>
              <a:t>Companies that make best use of data and analytics investments stand to capture more value compared to companies that do not</a:t>
            </a:r>
          </a:p>
          <a:p>
            <a:pPr marL="171450" lvl="0" indent="-171450">
              <a:buFont typeface="Arial" panose="020B0604020202020204" pitchFamily="34" charset="0"/>
              <a:buChar char="•"/>
            </a:pPr>
            <a:r>
              <a:rPr lang="en-US" sz="1000" kern="1200" dirty="0">
                <a:solidFill>
                  <a:schemeClr val="tx1"/>
                </a:solidFill>
                <a:effectLst/>
                <a:latin typeface="+mn-lt"/>
                <a:ea typeface="MS PGothic" panose="020B0600070205080204" pitchFamily="34" charset="-128"/>
                <a:cs typeface="ＭＳ Ｐゴシック" charset="0"/>
              </a:rPr>
              <a:t>Data is the new currency—the formula is relatively simple as to how we get our returns on data</a:t>
            </a:r>
          </a:p>
          <a:p>
            <a:r>
              <a:rPr lang="en-US" sz="1000" b="1" kern="1200" dirty="0">
                <a:solidFill>
                  <a:schemeClr val="tx1"/>
                </a:solidFill>
                <a:effectLst/>
                <a:latin typeface="+mn-lt"/>
                <a:ea typeface="MS PGothic" panose="020B0600070205080204" pitchFamily="34" charset="-128"/>
                <a:cs typeface="ＭＳ Ｐゴシック" charset="0"/>
              </a:rPr>
              <a:t>Talk Track:</a:t>
            </a:r>
            <a:endParaRPr lang="en-US" sz="1000" kern="1200" dirty="0">
              <a:solidFill>
                <a:schemeClr val="tx1"/>
              </a:solidFill>
              <a:effectLst/>
              <a:latin typeface="+mn-lt"/>
              <a:ea typeface="MS PGothic" panose="020B0600070205080204" pitchFamily="34" charset="-128"/>
              <a:cs typeface="ＭＳ Ｐゴシック" charset="0"/>
            </a:endParaRPr>
          </a:p>
          <a:p>
            <a:pPr marL="171450" lvl="0" indent="-171450">
              <a:buFont typeface="Arial" panose="020B0604020202020204" pitchFamily="34" charset="0"/>
              <a:buChar char="•"/>
            </a:pPr>
            <a:r>
              <a:rPr lang="en-US" sz="1000" kern="1200" dirty="0">
                <a:solidFill>
                  <a:schemeClr val="tx1"/>
                </a:solidFill>
                <a:effectLst/>
                <a:latin typeface="+mn-lt"/>
                <a:ea typeface="MS PGothic" panose="020B0600070205080204" pitchFamily="34" charset="-128"/>
                <a:cs typeface="ＭＳ Ｐゴシック" charset="0"/>
              </a:rPr>
              <a:t>If data is the new competitive advantage for business, we want to get granular and specific on how companies can derive business value. </a:t>
            </a:r>
          </a:p>
          <a:p>
            <a:pPr marL="171450" lvl="0" indent="-171450">
              <a:buFont typeface="Arial" panose="020B0604020202020204" pitchFamily="34" charset="0"/>
              <a:buChar char="•"/>
            </a:pPr>
            <a:r>
              <a:rPr lang="en-US" sz="1000" kern="1200" dirty="0">
                <a:solidFill>
                  <a:schemeClr val="tx1"/>
                </a:solidFill>
                <a:effectLst/>
                <a:latin typeface="+mn-lt"/>
                <a:ea typeface="MS PGothic" panose="020B0600070205080204" pitchFamily="34" charset="-128"/>
                <a:cs typeface="ＭＳ Ｐゴシック" charset="0"/>
              </a:rPr>
              <a:t>IDC explored the impact of data on business. After surveying more than 2,000 companies, IDC found that there are two categories of businesses: organizations that have taken a leadership position when it comes to data; and those that are not making best use of data. We learned that the leaders—those companies that embraced data—derived significantly more dividends from those investments in data—from increased revenue, improved productivity, and reduced costs. </a:t>
            </a:r>
          </a:p>
          <a:p>
            <a:pPr marL="171450" lvl="0" indent="-171450">
              <a:buFont typeface="Arial" panose="020B0604020202020204" pitchFamily="34" charset="0"/>
              <a:buChar char="•"/>
            </a:pPr>
            <a:r>
              <a:rPr lang="en-US" sz="1000" kern="1200" dirty="0">
                <a:solidFill>
                  <a:schemeClr val="tx1"/>
                </a:solidFill>
                <a:effectLst/>
                <a:latin typeface="+mn-lt"/>
                <a:ea typeface="MS PGothic" panose="020B0600070205080204" pitchFamily="34" charset="-128"/>
                <a:cs typeface="ＭＳ Ｐゴシック" charset="0"/>
              </a:rPr>
              <a:t>There is a unique formula that drives this notion of data dividends, or return on data. Data-driven companies focus on several areas:</a:t>
            </a:r>
          </a:p>
          <a:p>
            <a:pPr marL="636588" lvl="1" indent="-171450">
              <a:buFont typeface="Arial" panose="020B0604020202020204" pitchFamily="34" charset="0"/>
              <a:buChar char="•"/>
            </a:pPr>
            <a:r>
              <a:rPr lang="en-US" sz="1000" kern="1200" dirty="0">
                <a:solidFill>
                  <a:schemeClr val="tx1"/>
                </a:solidFill>
                <a:effectLst/>
                <a:latin typeface="+mn-lt"/>
                <a:ea typeface="MS PGothic" panose="020B0600070205080204" pitchFamily="34" charset="-128"/>
                <a:cs typeface="+mn-cs"/>
              </a:rPr>
              <a:t>Capturing diverse data: You can no longer just think about what to do with traditional data types. You need to be open to and capable of collecting a wide array of data—including new data types.</a:t>
            </a:r>
          </a:p>
          <a:p>
            <a:pPr marL="636588" lvl="1" indent="-171450">
              <a:buFont typeface="Arial" panose="020B0604020202020204" pitchFamily="34" charset="0"/>
              <a:buChar char="•"/>
            </a:pPr>
            <a:r>
              <a:rPr lang="en-US" sz="1000" kern="1200" dirty="0">
                <a:solidFill>
                  <a:schemeClr val="tx1"/>
                </a:solidFill>
                <a:effectLst/>
                <a:latin typeface="+mn-lt"/>
                <a:ea typeface="MS PGothic" panose="020B0600070205080204" pitchFamily="34" charset="-128"/>
                <a:cs typeface="+mn-cs"/>
              </a:rPr>
              <a:t>Utilize new analytics: Logical data warehouses are no longer going to extract and transform new data types. You need to explore new analytical capabilities that are suited to new data types and real-time decision making needs.</a:t>
            </a:r>
          </a:p>
          <a:p>
            <a:pPr marL="636588" lvl="1" indent="-171450">
              <a:buFont typeface="Arial" panose="020B0604020202020204" pitchFamily="34" charset="0"/>
              <a:buChar char="•"/>
            </a:pPr>
            <a:r>
              <a:rPr lang="en-US" sz="1000" kern="1200" dirty="0">
                <a:solidFill>
                  <a:schemeClr val="tx1"/>
                </a:solidFill>
                <a:effectLst/>
                <a:latin typeface="+mn-lt"/>
                <a:ea typeface="MS PGothic" panose="020B0600070205080204" pitchFamily="34" charset="-128"/>
                <a:cs typeface="+mn-cs"/>
              </a:rPr>
              <a:t>Deliver to more people: To unlock insights, you need to democratize your data across the organization. </a:t>
            </a:r>
          </a:p>
          <a:p>
            <a:pPr marL="636588" lvl="1" indent="-171450">
              <a:buFont typeface="Arial" panose="020B0604020202020204" pitchFamily="34" charset="0"/>
              <a:buChar char="•"/>
            </a:pPr>
            <a:r>
              <a:rPr lang="en-US" sz="1000" kern="1200" dirty="0">
                <a:solidFill>
                  <a:schemeClr val="tx1"/>
                </a:solidFill>
                <a:effectLst/>
                <a:latin typeface="+mn-lt"/>
                <a:ea typeface="MS PGothic" panose="020B0600070205080204" pitchFamily="34" charset="-128"/>
                <a:cs typeface="+mn-cs"/>
              </a:rPr>
              <a:t>Uncover real-time insights: With the rise of the Internet of Things, and the instrumentation of just about everything, the ability to provide real-time visibility across lines of business represents a big value opportunity.</a:t>
            </a:r>
          </a:p>
          <a:p>
            <a:pPr marL="171450" lvl="0" indent="-171450">
              <a:buFont typeface="Arial" panose="020B0604020202020204" pitchFamily="34" charset="0"/>
              <a:buChar char="•"/>
            </a:pPr>
            <a:r>
              <a:rPr lang="en-US" sz="1000" kern="1200" dirty="0">
                <a:solidFill>
                  <a:schemeClr val="tx1"/>
                </a:solidFill>
                <a:effectLst/>
                <a:latin typeface="+mn-lt"/>
                <a:ea typeface="MS PGothic" panose="020B0600070205080204" pitchFamily="34" charset="-128"/>
                <a:cs typeface="ＭＳ Ｐゴシック" charset="0"/>
              </a:rPr>
              <a:t>At the worldwide level, leaders will capture $1.6 trillion more in value from their data and analytics investments over the next four years compared to companies that don’t. This represents a 6 percent higher data dividend for leaders—an opportunity that exists for any individual organization looking to maximize its return on data assets and reap ongoing data dividends.</a:t>
            </a:r>
          </a:p>
          <a:p>
            <a:pPr marL="171450" lvl="0" indent="-171450">
              <a:buFont typeface="Arial" panose="020B0604020202020204" pitchFamily="34" charset="0"/>
              <a:buChar char="•"/>
            </a:pPr>
            <a:r>
              <a:rPr lang="en-US" sz="1000" kern="1200" dirty="0">
                <a:solidFill>
                  <a:schemeClr val="tx1"/>
                </a:solidFill>
                <a:effectLst/>
                <a:latin typeface="+mn-lt"/>
                <a:ea typeface="MS PGothic" panose="020B0600070205080204" pitchFamily="34" charset="-128"/>
                <a:cs typeface="ＭＳ Ｐゴシック" charset="0"/>
              </a:rPr>
              <a:t>This means that data really is a new currency of the twenty-first century business economy. </a:t>
            </a:r>
          </a:p>
        </p:txBody>
      </p:sp>
      <p:sp>
        <p:nvSpPr>
          <p:cNvPr id="56323"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eaLnBrk="1" hangingPunct="1"/>
            <a:fld id="{5B890FDF-60E2-B145-B5D7-0FE7E8EC781D}" type="slidenum">
              <a:rPr lang="en-US" sz="1200">
                <a:solidFill>
                  <a:prstClr val="black"/>
                </a:solidFill>
                <a:latin typeface="Calibri" charset="0"/>
              </a:rPr>
              <a:pPr eaLnBrk="1" hangingPunct="1"/>
              <a:t>3</a:t>
            </a:fld>
            <a:endParaRPr lang="en-US" sz="1200" dirty="0">
              <a:solidFill>
                <a:prstClr val="black"/>
              </a:solidFill>
              <a:latin typeface="Calibri" charset="0"/>
            </a:endParaRPr>
          </a:p>
        </p:txBody>
      </p:sp>
    </p:spTree>
    <p:extLst>
      <p:ext uri="{BB962C8B-B14F-4D97-AF65-F5344CB8AC3E}">
        <p14:creationId xmlns:p14="http://schemas.microsoft.com/office/powerpoint/2010/main" val="38942432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Data is the new oil</a:t>
            </a:r>
          </a:p>
          <a:p>
            <a:pPr marL="171450" indent="-171450">
              <a:buFontTx/>
              <a:buChar char="-"/>
            </a:pPr>
            <a:r>
              <a:rPr lang="en-US" dirty="0"/>
              <a:t>With so much data and big data out there, we need a way to understand the data</a:t>
            </a:r>
          </a:p>
          <a:p>
            <a:pPr marL="171450" indent="-171450">
              <a:buFontTx/>
              <a:buChar char="-"/>
            </a:pPr>
            <a:r>
              <a:rPr lang="en-US" dirty="0"/>
              <a:t>Data science is the study of how we can analyze these huge amounts of data using algorithms</a:t>
            </a:r>
          </a:p>
          <a:p>
            <a:pPr marL="171450" indent="-171450">
              <a:buFontTx/>
              <a:buChar char="-"/>
            </a:pPr>
            <a:r>
              <a:rPr lang="en-US" dirty="0"/>
              <a:t>Visualization of data helps us to ingest what is important in the data</a:t>
            </a:r>
          </a:p>
        </p:txBody>
      </p:sp>
      <p:sp>
        <p:nvSpPr>
          <p:cNvPr id="4" name="Slide Number Placeholder 3"/>
          <p:cNvSpPr>
            <a:spLocks noGrp="1"/>
          </p:cNvSpPr>
          <p:nvPr>
            <p:ph type="sldNum" sz="quarter" idx="10"/>
          </p:nvPr>
        </p:nvSpPr>
        <p:spPr/>
        <p:txBody>
          <a:bodyPr/>
          <a:lstStyle/>
          <a:p>
            <a:fld id="{B6D1E034-5232-41F8-B991-F18E5FA0EB1B}" type="slidenum">
              <a:rPr lang="en-US" smtClean="0"/>
              <a:t>4</a:t>
            </a:fld>
            <a:endParaRPr lang="en-US"/>
          </a:p>
        </p:txBody>
      </p:sp>
    </p:spTree>
    <p:extLst>
      <p:ext uri="{BB962C8B-B14F-4D97-AF65-F5344CB8AC3E}">
        <p14:creationId xmlns:p14="http://schemas.microsoft.com/office/powerpoint/2010/main" val="31955391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6D1E034-5232-41F8-B991-F18E5FA0EB1B}" type="slidenum">
              <a:rPr lang="en-US" smtClean="0"/>
              <a:t>5</a:t>
            </a:fld>
            <a:endParaRPr lang="en-US"/>
          </a:p>
        </p:txBody>
      </p:sp>
    </p:spTree>
    <p:extLst>
      <p:ext uri="{BB962C8B-B14F-4D97-AF65-F5344CB8AC3E}">
        <p14:creationId xmlns:p14="http://schemas.microsoft.com/office/powerpoint/2010/main" val="127774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On a very high level, machine learning and data science answers these core questions</a:t>
            </a:r>
          </a:p>
        </p:txBody>
      </p:sp>
      <p:sp>
        <p:nvSpPr>
          <p:cNvPr id="4" name="Slide Number Placeholder 3"/>
          <p:cNvSpPr>
            <a:spLocks noGrp="1"/>
          </p:cNvSpPr>
          <p:nvPr>
            <p:ph type="sldNum" sz="quarter" idx="10"/>
          </p:nvPr>
        </p:nvSpPr>
        <p:spPr/>
        <p:txBody>
          <a:bodyPr/>
          <a:lstStyle/>
          <a:p>
            <a:fld id="{B6D1E034-5232-41F8-B991-F18E5FA0EB1B}" type="slidenum">
              <a:rPr lang="en-US" smtClean="0"/>
              <a:t>6</a:t>
            </a:fld>
            <a:endParaRPr lang="en-US"/>
          </a:p>
        </p:txBody>
      </p:sp>
    </p:spTree>
    <p:extLst>
      <p:ext uri="{BB962C8B-B14F-4D97-AF65-F5344CB8AC3E}">
        <p14:creationId xmlns:p14="http://schemas.microsoft.com/office/powerpoint/2010/main" val="13910243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6D1E034-5232-41F8-B991-F18E5FA0EB1B}" type="slidenum">
              <a:rPr lang="en-US" smtClean="0"/>
              <a:t>7</a:t>
            </a:fld>
            <a:endParaRPr lang="en-US"/>
          </a:p>
        </p:txBody>
      </p:sp>
    </p:spTree>
    <p:extLst>
      <p:ext uri="{BB962C8B-B14F-4D97-AF65-F5344CB8AC3E}">
        <p14:creationId xmlns:p14="http://schemas.microsoft.com/office/powerpoint/2010/main" val="23540293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6D1E034-5232-41F8-B991-F18E5FA0EB1B}" type="slidenum">
              <a:rPr lang="en-US" smtClean="0"/>
              <a:t>8</a:t>
            </a:fld>
            <a:endParaRPr lang="en-US"/>
          </a:p>
        </p:txBody>
      </p:sp>
    </p:spTree>
    <p:extLst>
      <p:ext uri="{BB962C8B-B14F-4D97-AF65-F5344CB8AC3E}">
        <p14:creationId xmlns:p14="http://schemas.microsoft.com/office/powerpoint/2010/main" val="39512610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6D1E034-5232-41F8-B991-F18E5FA0EB1B}" type="slidenum">
              <a:rPr lang="en-US" smtClean="0"/>
              <a:t>9</a:t>
            </a:fld>
            <a:endParaRPr lang="en-US"/>
          </a:p>
        </p:txBody>
      </p:sp>
    </p:spTree>
    <p:extLst>
      <p:ext uri="{BB962C8B-B14F-4D97-AF65-F5344CB8AC3E}">
        <p14:creationId xmlns:p14="http://schemas.microsoft.com/office/powerpoint/2010/main" val="682995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6.emf"/><Relationship Id="rId4" Type="http://schemas.openxmlformats.org/officeDocument/2006/relationships/oleObject" Target="../embeddings/oleObject5.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6.emf"/><Relationship Id="rId4" Type="http://schemas.openxmlformats.org/officeDocument/2006/relationships/oleObject" Target="../embeddings/oleObject7.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6.emf"/><Relationship Id="rId4" Type="http://schemas.openxmlformats.org/officeDocument/2006/relationships/oleObject" Target="../embeddings/oleObject8.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6.emf"/><Relationship Id="rId4" Type="http://schemas.openxmlformats.org/officeDocument/2006/relationships/oleObject" Target="../embeddings/oleObject10.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6.emf"/><Relationship Id="rId4" Type="http://schemas.openxmlformats.org/officeDocument/2006/relationships/oleObject" Target="../embeddings/oleObject11.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oleObject" Target="../embeddings/oleObject12.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9.png"/><Relationship Id="rId5" Type="http://schemas.openxmlformats.org/officeDocument/2006/relationships/image" Target="../media/image6.emf"/><Relationship Id="rId4" Type="http://schemas.openxmlformats.org/officeDocument/2006/relationships/oleObject" Target="../embeddings/oleObject13.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6.emf"/><Relationship Id="rId4" Type="http://schemas.openxmlformats.org/officeDocument/2006/relationships/oleObject" Target="../embeddings/oleObject14.bin"/></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bwMode="invGray">
          <a:xfrm>
            <a:off x="454892" y="481158"/>
            <a:ext cx="1408078" cy="300619"/>
          </a:xfrm>
          <a:prstGeom prst="rect">
            <a:avLst/>
          </a:prstGeom>
        </p:spPr>
      </p:pic>
      <p:sp>
        <p:nvSpPr>
          <p:cNvPr id="12" name="Freeform 1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00BCF2"/>
          </a:solidFill>
          <a:ln>
            <a:noFill/>
          </a:ln>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37605945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328859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22492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5461390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39589328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8964248" cy="1158793"/>
          </a:xfrm>
          <a:noFill/>
        </p:spPr>
        <p:txBody>
          <a:bodyPr wrap="square" tIns="91440" bIns="91440" anchor="t" anchorCtr="0">
            <a:spAutoFit/>
          </a:bodyPr>
          <a:lstStyle>
            <a:lvl1pPr>
              <a:defRPr sz="7058" spc="-98" baseline="0">
                <a:gradFill>
                  <a:gsLst>
                    <a:gs pos="24779">
                      <a:srgbClr val="000000"/>
                    </a:gs>
                    <a:gs pos="70000">
                      <a:srgbClr val="000000"/>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964247" cy="724246"/>
          </a:xfrm>
          <a:noFill/>
        </p:spPr>
        <p:txBody>
          <a:bodyPr wrap="square" lIns="182880" tIns="146304" rIns="182880" bIns="146304">
            <a:spAutoFit/>
          </a:bodyPr>
          <a:lstStyle>
            <a:lvl1pPr marL="0" indent="0">
              <a:spcBef>
                <a:spcPts val="0"/>
              </a:spcBef>
              <a:buNone/>
              <a:defRPr sz="3137" spc="0" baseline="0">
                <a:gradFill>
                  <a:gsLst>
                    <a:gs pos="24779">
                      <a:srgbClr val="000000"/>
                    </a:gs>
                    <a:gs pos="70000">
                      <a:srgbClr val="000000"/>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230870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964247"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7274151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322215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92035">
                      <a:srgbClr val="000000"/>
                    </a:gs>
                    <a:gs pos="75000">
                      <a:srgbClr val="000000"/>
                    </a:gs>
                  </a:gsLst>
                  <a:lin ang="5400000" scaled="0"/>
                </a:gradFill>
              </a:defRPr>
            </a:lvl1pPr>
          </a:lstStyle>
          <a:p>
            <a:r>
              <a:rPr lang="en-US" dirty="0"/>
              <a:t>Section title</a:t>
            </a:r>
          </a:p>
        </p:txBody>
      </p:sp>
    </p:spTree>
    <p:extLst>
      <p:ext uri="{BB962C8B-B14F-4D97-AF65-F5344CB8AC3E}">
        <p14:creationId xmlns:p14="http://schemas.microsoft.com/office/powerpoint/2010/main" val="5136673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2109893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3E92D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5077001" y="-800063"/>
            <a:ext cx="2819048" cy="590476"/>
          </a:xfrm>
          <a:prstGeom prst="rect">
            <a:avLst/>
          </a:prstGeom>
        </p:spPr>
      </p:pic>
    </p:spTree>
    <p:extLst>
      <p:ext uri="{BB962C8B-B14F-4D97-AF65-F5344CB8AC3E}">
        <p14:creationId xmlns:p14="http://schemas.microsoft.com/office/powerpoint/2010/main" val="42424414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Microsoft">
    <p:bg>
      <p:bgPr>
        <a:solidFill>
          <a:srgbClr val="3E92D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
        <p:nvSpPr>
          <p:cNvPr id="7" name="Text Placeholder 2"/>
          <p:cNvSpPr>
            <a:spLocks noGrp="1"/>
          </p:cNvSpPr>
          <p:nvPr>
            <p:ph type="body" sz="quarter" idx="13" hasCustomPrompt="1"/>
          </p:nvPr>
        </p:nvSpPr>
        <p:spPr>
          <a:xfrm>
            <a:off x="8337063" y="301617"/>
            <a:ext cx="3584143"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pic>
        <p:nvPicPr>
          <p:cNvPr id="3" name="Picture 2"/>
          <p:cNvPicPr>
            <a:picLocks noChangeAspect="1"/>
          </p:cNvPicPr>
          <p:nvPr userDrawn="1"/>
        </p:nvPicPr>
        <p:blipFill>
          <a:blip r:embed="rId4"/>
          <a:stretch>
            <a:fillRect/>
          </a:stretch>
        </p:blipFill>
        <p:spPr>
          <a:xfrm>
            <a:off x="4753151" y="-923888"/>
            <a:ext cx="2819048" cy="590476"/>
          </a:xfrm>
          <a:prstGeom prst="rect">
            <a:avLst/>
          </a:prstGeom>
        </p:spPr>
      </p:pic>
    </p:spTree>
    <p:extLst>
      <p:ext uri="{BB962C8B-B14F-4D97-AF65-F5344CB8AC3E}">
        <p14:creationId xmlns:p14="http://schemas.microsoft.com/office/powerpoint/2010/main" val="19378091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1E425C"/>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4876976" y="-961988"/>
            <a:ext cx="2819048" cy="590476"/>
          </a:xfrm>
          <a:prstGeom prst="rect">
            <a:avLst/>
          </a:prstGeom>
        </p:spPr>
      </p:pic>
    </p:spTree>
    <p:extLst>
      <p:ext uri="{BB962C8B-B14F-4D97-AF65-F5344CB8AC3E}">
        <p14:creationId xmlns:p14="http://schemas.microsoft.com/office/powerpoint/2010/main" val="18009347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248661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invGray">
          <a:xfrm>
            <a:off x="454892" y="470067"/>
            <a:ext cx="1408078" cy="300619"/>
          </a:xfrm>
          <a:prstGeom prst="rect">
            <a:avLst/>
          </a:prstGeom>
        </p:spPr>
      </p:pic>
    </p:spTree>
    <p:extLst>
      <p:ext uri="{BB962C8B-B14F-4D97-AF65-F5344CB8AC3E}">
        <p14:creationId xmlns:p14="http://schemas.microsoft.com/office/powerpoint/2010/main" val="37412946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035133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704">
                <a:gradFill>
                  <a:gsLst>
                    <a:gs pos="7407">
                      <a:schemeClr val="bg1"/>
                    </a:gs>
                    <a:gs pos="21296">
                      <a:schemeClr val="bg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11421023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02_Details">
    <p:spTree>
      <p:nvGrpSpPr>
        <p:cNvPr id="1" name=""/>
        <p:cNvGrpSpPr/>
        <p:nvPr/>
      </p:nvGrpSpPr>
      <p:grpSpPr>
        <a:xfrm>
          <a:off x="0" y="0"/>
          <a:ext cx="0" cy="0"/>
          <a:chOff x="0" y="0"/>
          <a:chExt cx="0" cy="0"/>
        </a:xfrm>
      </p:grpSpPr>
      <p:sp>
        <p:nvSpPr>
          <p:cNvPr id="2" name="Title 1"/>
          <p:cNvSpPr>
            <a:spLocks noGrp="1"/>
          </p:cNvSpPr>
          <p:nvPr>
            <p:ph type="title"/>
          </p:nvPr>
        </p:nvSpPr>
        <p:spPr>
          <a:xfrm>
            <a:off x="152400" y="174625"/>
            <a:ext cx="11887200" cy="854075"/>
          </a:xfrm>
        </p:spPr>
        <p:txBody>
          <a:bodyPr/>
          <a:lstStyle/>
          <a:p>
            <a:r>
              <a:rPr lang="en-US"/>
              <a:t>Click to edit Master title style</a:t>
            </a:r>
          </a:p>
        </p:txBody>
      </p:sp>
      <p:sp>
        <p:nvSpPr>
          <p:cNvPr id="3" name="Text Placeholder 2"/>
          <p:cNvSpPr>
            <a:spLocks noGrp="1"/>
          </p:cNvSpPr>
          <p:nvPr>
            <p:ph idx="1"/>
          </p:nvPr>
        </p:nvSpPr>
        <p:spPr>
          <a:xfrm>
            <a:off x="152400" y="1028700"/>
            <a:ext cx="11887200" cy="53594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504608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dirty="0"/>
              <a:t>Click to edit Master title style</a:t>
            </a:r>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600">
                <a:solidFill>
                  <a:schemeClr val="tx1"/>
                </a:solidFill>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a:t>Click to edit Master subtitle style</a:t>
            </a:r>
          </a:p>
        </p:txBody>
      </p:sp>
    </p:spTree>
    <p:extLst>
      <p:ext uri="{BB962C8B-B14F-4D97-AF65-F5344CB8AC3E}">
        <p14:creationId xmlns:p14="http://schemas.microsoft.com/office/powerpoint/2010/main" val="66335194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dirty="0">
              <a:solidFill>
                <a:srgbClr val="FFFFFF"/>
              </a:solidFill>
            </a:endParaRPr>
          </a:p>
        </p:txBody>
      </p:sp>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dirty="0"/>
              <a:t>Click to edit Master title style</a:t>
            </a:r>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600">
                <a:solidFill>
                  <a:schemeClr val="tx1"/>
                </a:solidFill>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a:t>Click to edit Master subtitle style</a:t>
            </a:r>
          </a:p>
        </p:txBody>
      </p:sp>
    </p:spTree>
    <p:extLst>
      <p:ext uri="{BB962C8B-B14F-4D97-AF65-F5344CB8AC3E}">
        <p14:creationId xmlns:p14="http://schemas.microsoft.com/office/powerpoint/2010/main" val="311457886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09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dirty="0">
              <a:solidFill>
                <a:srgbClr val="FFFFFF"/>
              </a:solidFill>
            </a:endParaRPr>
          </a:p>
        </p:txBody>
      </p:sp>
      <p:sp>
        <p:nvSpPr>
          <p:cNvPr id="2" name="Title 1"/>
          <p:cNvSpPr>
            <a:spLocks noGrp="1"/>
          </p:cNvSpPr>
          <p:nvPr>
            <p:ph type="ctrTitle" hasCustomPrompt="1"/>
          </p:nvPr>
        </p:nvSpPr>
        <p:spPr>
          <a:xfrm>
            <a:off x="606176" y="2235200"/>
            <a:ext cx="11034445" cy="2387600"/>
          </a:xfrm>
        </p:spPr>
        <p:txBody>
          <a:bodyPr anchor="b">
            <a:normAutofit/>
          </a:bodyPr>
          <a:lstStyle>
            <a:lvl1pPr algn="l">
              <a:defRPr sz="13798"/>
            </a:lvl1pPr>
          </a:lstStyle>
          <a:p>
            <a:r>
              <a:rPr lang="en-US" dirty="0"/>
              <a:t>Video</a:t>
            </a:r>
          </a:p>
        </p:txBody>
      </p:sp>
    </p:spTree>
    <p:extLst>
      <p:ext uri="{BB962C8B-B14F-4D97-AF65-F5344CB8AC3E}">
        <p14:creationId xmlns:p14="http://schemas.microsoft.com/office/powerpoint/2010/main" val="336906235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2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Rectangle 3"/>
          <p:cNvSpPr/>
          <p:nvPr userDrawn="1"/>
        </p:nvSpPr>
        <p:spPr>
          <a:xfrm>
            <a:off x="0" y="0"/>
            <a:ext cx="12192000" cy="6858000"/>
          </a:xfrm>
          <a:prstGeom prst="rect">
            <a:avLst/>
          </a:prstGeom>
          <a:gradFill flip="none" rotWithShape="1">
            <a:gsLst>
              <a:gs pos="100000">
                <a:srgbClr val="000000"/>
              </a:gs>
              <a:gs pos="0">
                <a:srgbClr val="000000">
                  <a:lumMod val="100000"/>
                  <a:alpha val="5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dirty="0">
              <a:solidFill>
                <a:srgbClr val="FFFFFF"/>
              </a:solidFill>
            </a:endParaRPr>
          </a:p>
        </p:txBody>
      </p:sp>
      <p:sp>
        <p:nvSpPr>
          <p:cNvPr id="2" name="Title 1"/>
          <p:cNvSpPr>
            <a:spLocks noGrp="1"/>
          </p:cNvSpPr>
          <p:nvPr>
            <p:ph type="ctrTitle"/>
          </p:nvPr>
        </p:nvSpPr>
        <p:spPr>
          <a:xfrm>
            <a:off x="606176" y="1534345"/>
            <a:ext cx="11034445" cy="1007888"/>
          </a:xfrm>
        </p:spPr>
        <p:txBody>
          <a:bodyPr anchor="b"/>
          <a:lstStyle>
            <a:lvl1pPr algn="l">
              <a:defRPr sz="5998">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06176" y="2853732"/>
            <a:ext cx="11034445" cy="2404068"/>
          </a:xfrm>
        </p:spPr>
        <p:txBody>
          <a:bodyPr>
            <a:normAutofit/>
          </a:bodyPr>
          <a:lstStyle>
            <a:lvl1pPr marL="0" indent="0" algn="l">
              <a:buNone/>
              <a:defRPr sz="36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a:t>Click to edit Master subtitle style</a:t>
            </a:r>
          </a:p>
        </p:txBody>
      </p:sp>
    </p:spTree>
    <p:extLst>
      <p:ext uri="{BB962C8B-B14F-4D97-AF65-F5344CB8AC3E}">
        <p14:creationId xmlns:p14="http://schemas.microsoft.com/office/powerpoint/2010/main" val="1078456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Build">
    <p:bg>
      <p:bgPr>
        <a:solidFill>
          <a:srgbClr val="3E92D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7" name="Text Placeholder 2"/>
          <p:cNvSpPr>
            <a:spLocks noGrp="1"/>
          </p:cNvSpPr>
          <p:nvPr>
            <p:ph type="body" sz="quarter" idx="13" hasCustomPrompt="1"/>
          </p:nvPr>
        </p:nvSpPr>
        <p:spPr>
          <a:xfrm>
            <a:off x="8337063" y="301617"/>
            <a:ext cx="3584143"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
        <p:nvSpPr>
          <p:cNvPr id="8" name="Freeform 7"/>
          <p:cNvSpPr>
            <a:spLocks noChangeAspect="1" noEditPoints="1"/>
          </p:cNvSpPr>
          <p:nvPr userDrawn="1"/>
        </p:nvSpPr>
        <p:spPr bwMode="black">
          <a:xfrm>
            <a:off x="448212" y="481157"/>
            <a:ext cx="1214650" cy="30482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endParaRPr lang="en-US" sz="1765">
              <a:solidFill>
                <a:srgbClr val="404040"/>
              </a:solidFill>
            </a:endParaRPr>
          </a:p>
        </p:txBody>
      </p:sp>
      <p:sp>
        <p:nvSpPr>
          <p:cNvPr id="9" name="TextBox 8"/>
          <p:cNvSpPr txBox="1"/>
          <p:nvPr userDrawn="1"/>
        </p:nvSpPr>
        <p:spPr>
          <a:xfrm>
            <a:off x="283308" y="5954047"/>
            <a:ext cx="1862846" cy="615609"/>
          </a:xfrm>
          <a:prstGeom prst="rect">
            <a:avLst/>
          </a:prstGeom>
          <a:noFill/>
        </p:spPr>
        <p:txBody>
          <a:bodyPr wrap="non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Build2016</a:t>
            </a:r>
          </a:p>
        </p:txBody>
      </p:sp>
      <p:pic>
        <p:nvPicPr>
          <p:cNvPr id="2" name="Picture 1"/>
          <p:cNvPicPr>
            <a:picLocks noChangeAspect="1"/>
          </p:cNvPicPr>
          <p:nvPr userDrawn="1"/>
        </p:nvPicPr>
        <p:blipFill>
          <a:blip r:embed="rId3"/>
          <a:stretch>
            <a:fillRect/>
          </a:stretch>
        </p:blipFill>
        <p:spPr>
          <a:xfrm>
            <a:off x="4010201" y="-1400138"/>
            <a:ext cx="2819048" cy="590476"/>
          </a:xfrm>
          <a:prstGeom prst="rect">
            <a:avLst/>
          </a:prstGeom>
        </p:spPr>
      </p:pic>
    </p:spTree>
    <p:extLst>
      <p:ext uri="{BB962C8B-B14F-4D97-AF65-F5344CB8AC3E}">
        <p14:creationId xmlns:p14="http://schemas.microsoft.com/office/powerpoint/2010/main" val="22087339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4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606176" y="2243915"/>
            <a:ext cx="11034445" cy="2387600"/>
          </a:xfrm>
        </p:spPr>
        <p:txBody>
          <a:bodyPr anchor="ctr">
            <a:noAutofit/>
          </a:bodyPr>
          <a:lstStyle>
            <a:lvl1pPr algn="l">
              <a:lnSpc>
                <a:spcPct val="100000"/>
              </a:lnSpc>
              <a:defRPr sz="16596">
                <a:solidFill>
                  <a:schemeClr val="bg1"/>
                </a:solidFill>
              </a:defRPr>
            </a:lvl1pPr>
          </a:lstStyle>
          <a:p>
            <a:r>
              <a:rPr lang="en-US" dirty="0"/>
              <a:t>subject</a:t>
            </a:r>
          </a:p>
        </p:txBody>
      </p:sp>
    </p:spTree>
    <p:extLst>
      <p:ext uri="{BB962C8B-B14F-4D97-AF65-F5344CB8AC3E}">
        <p14:creationId xmlns:p14="http://schemas.microsoft.com/office/powerpoint/2010/main" val="375985113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70"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35328846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19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a:xfrm>
            <a:off x="560799" y="457200"/>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9" y="987426"/>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9" y="2604071"/>
            <a:ext cx="4211227" cy="3264917"/>
          </a:xfrm>
        </p:spPr>
        <p:txBody>
          <a:bodyPr>
            <a:normAutofit/>
          </a:bodyPr>
          <a:lstStyle>
            <a:lvl1pPr marL="0" indent="0">
              <a:buNone/>
              <a:defRPr sz="20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345699008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1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Slide Number Placeholder 3"/>
          <p:cNvSpPr>
            <a:spLocks noGrp="1"/>
          </p:cNvSpPr>
          <p:nvPr>
            <p:ph type="sldNum" sz="quarter" idx="12"/>
          </p:nvPr>
        </p:nvSpPr>
        <p:spPr>
          <a:xfrm>
            <a:off x="8903415"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304800736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4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3493768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6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Rectangle 1"/>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dirty="0">
              <a:solidFill>
                <a:srgbClr val="FFFFFF"/>
              </a:solidFill>
            </a:endParaRPr>
          </a:p>
        </p:txBody>
      </p:sp>
    </p:spTree>
    <p:extLst>
      <p:ext uri="{BB962C8B-B14F-4D97-AF65-F5344CB8AC3E}">
        <p14:creationId xmlns:p14="http://schemas.microsoft.com/office/powerpoint/2010/main" val="300605968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29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4" name="Picture 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2918"/>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dirty="0">
              <a:solidFill>
                <a:srgbClr val="FFFFFF"/>
              </a:solidFill>
            </a:endParaRPr>
          </a:p>
        </p:txBody>
      </p:sp>
    </p:spTree>
    <p:extLst>
      <p:ext uri="{BB962C8B-B14F-4D97-AF65-F5344CB8AC3E}">
        <p14:creationId xmlns:p14="http://schemas.microsoft.com/office/powerpoint/2010/main" val="64413296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Logo on Background">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1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Rectangle 1"/>
          <p:cNvSpPr/>
          <p:nvPr userDrawn="1"/>
        </p:nvSpPr>
        <p:spPr>
          <a:xfrm>
            <a:off x="0" y="0"/>
            <a:ext cx="121920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dirty="0">
              <a:solidFill>
                <a:srgbClr val="FFFFFF"/>
              </a:solidFill>
            </a:endParaRPr>
          </a:p>
        </p:txBody>
      </p:sp>
      <p:sp>
        <p:nvSpPr>
          <p:cNvPr id="3" name="Text Box 3"/>
          <p:cNvSpPr txBox="1">
            <a:spLocks noChangeArrowheads="1"/>
          </p:cNvSpPr>
          <p:nvPr userDrawn="1"/>
        </p:nvSpPr>
        <p:spPr bwMode="blackWhite">
          <a:xfrm>
            <a:off x="450202" y="5503177"/>
            <a:ext cx="8639369" cy="720545"/>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13748"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bwMode="invGray">
          <a:xfrm>
            <a:off x="667917" y="2968091"/>
            <a:ext cx="3223861" cy="690695"/>
          </a:xfrm>
          <a:prstGeom prst="rect">
            <a:avLst/>
          </a:prstGeom>
        </p:spPr>
      </p:pic>
    </p:spTree>
    <p:extLst>
      <p:ext uri="{BB962C8B-B14F-4D97-AF65-F5344CB8AC3E}">
        <p14:creationId xmlns:p14="http://schemas.microsoft.com/office/powerpoint/2010/main" val="1177338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38" name="think-cell Slide" r:id="rId4" imgW="6350000" imgH="6350000" progId="TCLayout.ActiveDocument.1">
                  <p:embed/>
                </p:oleObj>
              </mc:Choice>
              <mc:Fallback>
                <p:oleObj name="think-cell Slide" r:id="rId4" imgW="6350000" imgH="635000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4935235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dirty="0"/>
              <a:t>Click to edit Master title style</a:t>
            </a:r>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600">
                <a:solidFill>
                  <a:schemeClr val="tx1"/>
                </a:solidFill>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a:t>Click to edit Master subtitle style</a:t>
            </a:r>
          </a:p>
        </p:txBody>
      </p:sp>
    </p:spTree>
    <p:extLst>
      <p:ext uri="{BB962C8B-B14F-4D97-AF65-F5344CB8AC3E}">
        <p14:creationId xmlns:p14="http://schemas.microsoft.com/office/powerpoint/2010/main" val="1959613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6413103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dirty="0">
              <a:solidFill>
                <a:srgbClr val="FFFFFF"/>
              </a:solidFill>
            </a:endParaRPr>
          </a:p>
        </p:txBody>
      </p:sp>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dirty="0"/>
              <a:t>Click to edit Master title style</a:t>
            </a:r>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600">
                <a:solidFill>
                  <a:schemeClr val="tx1"/>
                </a:solidFill>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a:t>Click to edit Master subtitle style</a:t>
            </a:r>
          </a:p>
        </p:txBody>
      </p:sp>
    </p:spTree>
    <p:extLst>
      <p:ext uri="{BB962C8B-B14F-4D97-AF65-F5344CB8AC3E}">
        <p14:creationId xmlns:p14="http://schemas.microsoft.com/office/powerpoint/2010/main" val="252165542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dirty="0">
              <a:solidFill>
                <a:srgbClr val="FFFFFF"/>
              </a:solidFill>
            </a:endParaRPr>
          </a:p>
        </p:txBody>
      </p:sp>
      <p:sp>
        <p:nvSpPr>
          <p:cNvPr id="2" name="Title 1"/>
          <p:cNvSpPr>
            <a:spLocks noGrp="1"/>
          </p:cNvSpPr>
          <p:nvPr>
            <p:ph type="ctrTitle" hasCustomPrompt="1"/>
          </p:nvPr>
        </p:nvSpPr>
        <p:spPr>
          <a:xfrm>
            <a:off x="606176" y="2235200"/>
            <a:ext cx="11034445" cy="2387600"/>
          </a:xfrm>
        </p:spPr>
        <p:txBody>
          <a:bodyPr anchor="b">
            <a:normAutofit/>
          </a:bodyPr>
          <a:lstStyle>
            <a:lvl1pPr algn="l">
              <a:defRPr sz="13798"/>
            </a:lvl1pPr>
          </a:lstStyle>
          <a:p>
            <a:r>
              <a:rPr lang="en-US" dirty="0"/>
              <a:t>Video</a:t>
            </a:r>
          </a:p>
        </p:txBody>
      </p:sp>
    </p:spTree>
    <p:extLst>
      <p:ext uri="{BB962C8B-B14F-4D97-AF65-F5344CB8AC3E}">
        <p14:creationId xmlns:p14="http://schemas.microsoft.com/office/powerpoint/2010/main" val="370572511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6176" y="1534345"/>
            <a:ext cx="11034445" cy="1007888"/>
          </a:xfrm>
        </p:spPr>
        <p:txBody>
          <a:bodyPr anchor="b"/>
          <a:lstStyle>
            <a:lvl1pPr algn="l">
              <a:defRPr sz="5998">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06176" y="2853732"/>
            <a:ext cx="11034445" cy="2404068"/>
          </a:xfrm>
        </p:spPr>
        <p:txBody>
          <a:bodyPr>
            <a:normAutofit/>
          </a:bodyPr>
          <a:lstStyle>
            <a:lvl1pPr marL="0" indent="0" algn="l">
              <a:buNone/>
              <a:defRPr sz="36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a:t>Click to edit Master subtitle style</a:t>
            </a:r>
          </a:p>
        </p:txBody>
      </p:sp>
    </p:spTree>
    <p:extLst>
      <p:ext uri="{BB962C8B-B14F-4D97-AF65-F5344CB8AC3E}">
        <p14:creationId xmlns:p14="http://schemas.microsoft.com/office/powerpoint/2010/main" val="234884839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6176" y="2816940"/>
            <a:ext cx="11034445" cy="2387600"/>
          </a:xfrm>
        </p:spPr>
        <p:txBody>
          <a:bodyPr anchor="b">
            <a:noAutofit/>
          </a:bodyPr>
          <a:lstStyle>
            <a:lvl1pPr algn="l">
              <a:defRPr sz="23896">
                <a:solidFill>
                  <a:schemeClr val="bg1"/>
                </a:solidFill>
              </a:defRPr>
            </a:lvl1pPr>
          </a:lstStyle>
          <a:p>
            <a:r>
              <a:rPr lang="en-US" dirty="0"/>
              <a:t>web</a:t>
            </a:r>
          </a:p>
        </p:txBody>
      </p:sp>
    </p:spTree>
    <p:extLst>
      <p:ext uri="{BB962C8B-B14F-4D97-AF65-F5344CB8AC3E}">
        <p14:creationId xmlns:p14="http://schemas.microsoft.com/office/powerpoint/2010/main" val="6350618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297115027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8" y="2111605"/>
            <a:ext cx="11079822" cy="39809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pPr/>
              <a:t>‹#›</a:t>
            </a:fld>
            <a:endParaRPr lang="en-US" dirty="0"/>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2000"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406372315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353946560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0798" y="416497"/>
            <a:ext cx="11079822" cy="922110"/>
          </a:xfrm>
        </p:spPr>
        <p:txBody>
          <a:bodyPr>
            <a:normAutofit/>
          </a:bodyPr>
          <a:lstStyle>
            <a:lvl1pPr>
              <a:defRPr sz="4400"/>
            </a:lvl1pPr>
          </a:lstStyle>
          <a:p>
            <a:r>
              <a:rPr lang="en-US"/>
              <a:t>Click to edit Master title style</a:t>
            </a:r>
          </a:p>
        </p:txBody>
      </p:sp>
      <p:sp>
        <p:nvSpPr>
          <p:cNvPr id="5" name="Slide Number Placeholder 4"/>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254647937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903415"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266680243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62987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877948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92000" cy="6852165"/>
          </a:xfrm>
          <a:prstGeom prst="rect">
            <a:avLst/>
          </a:prstGeom>
        </p:spPr>
      </p:pic>
      <p:sp>
        <p:nvSpPr>
          <p:cNvPr id="3" name="Rectangle 2"/>
          <p:cNvSpPr/>
          <p:nvPr userDrawn="1"/>
        </p:nvSpPr>
        <p:spPr>
          <a:xfrm>
            <a:off x="0" y="0"/>
            <a:ext cx="12192000"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dirty="0">
              <a:solidFill>
                <a:srgbClr val="FFFFFF"/>
              </a:solidFill>
            </a:endParaRPr>
          </a:p>
        </p:txBody>
      </p:sp>
    </p:spTree>
    <p:extLst>
      <p:ext uri="{BB962C8B-B14F-4D97-AF65-F5344CB8AC3E}">
        <p14:creationId xmlns:p14="http://schemas.microsoft.com/office/powerpoint/2010/main" val="136136925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799" y="457200"/>
            <a:ext cx="4211227" cy="1936679"/>
          </a:xfrm>
        </p:spPr>
        <p:txBody>
          <a:bodyPr anchor="b">
            <a:noAutofit/>
          </a:bodyPr>
          <a:lstStyle>
            <a:lvl1pPr>
              <a:defRPr sz="4000"/>
            </a:lvl1pPr>
          </a:lstStyle>
          <a:p>
            <a:r>
              <a:rPr lang="en-US"/>
              <a:t>Click to edit Master title style</a:t>
            </a:r>
          </a:p>
        </p:txBody>
      </p:sp>
      <p:sp>
        <p:nvSpPr>
          <p:cNvPr id="3" name="Content Placeholder 2"/>
          <p:cNvSpPr>
            <a:spLocks noGrp="1"/>
          </p:cNvSpPr>
          <p:nvPr>
            <p:ph idx="1"/>
          </p:nvPr>
        </p:nvSpPr>
        <p:spPr>
          <a:xfrm>
            <a:off x="5183189" y="987426"/>
            <a:ext cx="6457432"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799" y="2604071"/>
            <a:ext cx="4211227" cy="3264917"/>
          </a:xfrm>
        </p:spPr>
        <p:txBody>
          <a:bodyPr>
            <a:normAutofit/>
          </a:bodyPr>
          <a:lstStyle>
            <a:lvl1pPr marL="0" indent="0">
              <a:buNone/>
              <a:defRPr sz="20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pPr/>
              <a:t>‹#›</a:t>
            </a:fld>
            <a:endParaRPr lang="en-US" dirty="0"/>
          </a:p>
        </p:txBody>
      </p:sp>
    </p:spTree>
    <p:extLst>
      <p:ext uri="{BB962C8B-B14F-4D97-AF65-F5344CB8AC3E}">
        <p14:creationId xmlns:p14="http://schemas.microsoft.com/office/powerpoint/2010/main" val="145179564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69240" y="5670380"/>
            <a:ext cx="11653523" cy="896552"/>
          </a:xfrm>
        </p:spPr>
        <p:txBody>
          <a:bodyPr lIns="182880" tIns="146304" rIns="182880" bIns="146304" anchor="b">
            <a:noAutofit/>
          </a:bodyPr>
          <a:lstStyle>
            <a:lvl1pPr>
              <a:defRPr sz="1961" baseline="0">
                <a:latin typeface="+mn-lt"/>
              </a:defRPr>
            </a:lvl1pPr>
          </a:lstStyle>
          <a:p>
            <a:pPr lvl="0"/>
            <a:r>
              <a:rPr lang="en-US" dirty="0"/>
              <a:t>Click to edit Master text styles</a:t>
            </a:r>
          </a:p>
        </p:txBody>
      </p:sp>
      <p:sp>
        <p:nvSpPr>
          <p:cNvPr id="2" name="Title 1"/>
          <p:cNvSpPr>
            <a:spLocks noGrp="1"/>
          </p:cNvSpPr>
          <p:nvPr>
            <p:ph type="title"/>
          </p:nvPr>
        </p:nvSpPr>
        <p:spPr>
          <a:xfrm>
            <a:off x="269239" y="2084174"/>
            <a:ext cx="11653522" cy="894996"/>
          </a:xfrm>
        </p:spPr>
        <p:txBody>
          <a:bodyPr/>
          <a:lstStyle>
            <a:lvl1pPr>
              <a:defRPr sz="5293"/>
            </a:lvl1pPr>
          </a:lstStyle>
          <a:p>
            <a:r>
              <a:rPr lang="en-US" dirty="0"/>
              <a:t>Click to edit Master title style</a:t>
            </a:r>
          </a:p>
        </p:txBody>
      </p:sp>
    </p:spTree>
    <p:extLst>
      <p:ext uri="{BB962C8B-B14F-4D97-AF65-F5344CB8AC3E}">
        <p14:creationId xmlns:p14="http://schemas.microsoft.com/office/powerpoint/2010/main" val="240379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3" y="1117577"/>
            <a:ext cx="10816237" cy="563458"/>
          </a:xfrm>
          <a:prstGeom prst="rect">
            <a:avLst/>
          </a:prstGeom>
        </p:spPr>
        <p:txBody>
          <a:bodyPr lIns="19202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1653523" cy="927940"/>
          </a:xfrm>
          <a:prstGeom prst="rect">
            <a:avLst/>
          </a:prstGeom>
        </p:spPr>
        <p:txBody>
          <a:bodyPr/>
          <a:lstStyle>
            <a:lvl1pPr algn="l">
              <a:defRPr sz="5095">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a:xfrm>
            <a:off x="269239" y="6558796"/>
            <a:ext cx="3859607" cy="134483"/>
          </a:xfrm>
          <a:prstGeom prst="rect">
            <a:avLst/>
          </a:prstGeom>
        </p:spPr>
        <p:txBody>
          <a:bodyPr/>
          <a:lstStyle>
            <a:lvl1pPr fontAlgn="base">
              <a:spcBef>
                <a:spcPct val="0"/>
              </a:spcBef>
              <a:spcAft>
                <a:spcPct val="0"/>
              </a:spcAft>
              <a:defRPr dirty="0" smtClean="0">
                <a:solidFill>
                  <a:srgbClr val="505050"/>
                </a:solidFill>
              </a:defRPr>
            </a:lvl1pPr>
          </a:lstStyle>
          <a:p>
            <a:pPr defTabSz="914225">
              <a:defRPr/>
            </a:pPr>
            <a:r>
              <a:rPr lang="en-US"/>
              <a:t>Microsoft Confidential</a:t>
            </a:r>
          </a:p>
        </p:txBody>
      </p:sp>
      <p:sp>
        <p:nvSpPr>
          <p:cNvPr id="5" name="Slide Number Placeholder 3"/>
          <p:cNvSpPr>
            <a:spLocks noGrp="1"/>
          </p:cNvSpPr>
          <p:nvPr>
            <p:ph type="sldNum" sz="quarter" idx="15"/>
          </p:nvPr>
        </p:nvSpPr>
        <p:spPr>
          <a:xfrm>
            <a:off x="11367166" y="6558796"/>
            <a:ext cx="555596" cy="134483"/>
          </a:xfrm>
          <a:prstGeom prst="rect">
            <a:avLst/>
          </a:prstGeom>
        </p:spPr>
        <p:txBody>
          <a:bodyPr/>
          <a:lstStyle>
            <a:lvl1pPr defTabSz="912979"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3059469683"/>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679384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437074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718513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3809454"/>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image" Target="../media/image6.emf"/><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oleObject" Target="../embeddings/oleObject1.bin"/><Relationship Id="rId2" Type="http://schemas.openxmlformats.org/officeDocument/2006/relationships/slideLayout" Target="../slideLayouts/slideLayout27.xml"/><Relationship Id="rId16" Type="http://schemas.openxmlformats.org/officeDocument/2006/relationships/tags" Target="../tags/tag1.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vmlDrawing" Target="../drawings/vmlDrawing1.vml"/><Relationship Id="rId10" Type="http://schemas.openxmlformats.org/officeDocument/2006/relationships/slideLayout" Target="../slideLayouts/slideLayout35.xml"/><Relationship Id="rId19" Type="http://schemas.openxmlformats.org/officeDocument/2006/relationships/image" Target="../media/image7.png"/><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image" Target="../media/image7.png"/><Relationship Id="rId2" Type="http://schemas.openxmlformats.org/officeDocument/2006/relationships/slideLayout" Target="../slideLayouts/slideLayout40.xml"/><Relationship Id="rId16" Type="http://schemas.openxmlformats.org/officeDocument/2006/relationships/theme" Target="../theme/theme3.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370906" y="-217"/>
            <a:ext cx="935477" cy="5654618"/>
            <a:chOff x="12618967" y="-221"/>
            <a:chExt cx="954235" cy="5767186"/>
          </a:xfrm>
        </p:grpSpPr>
        <p:grpSp>
          <p:nvGrpSpPr>
            <p:cNvPr id="26" name="Group 25"/>
            <p:cNvGrpSpPr/>
            <p:nvPr userDrawn="1"/>
          </p:nvGrpSpPr>
          <p:grpSpPr>
            <a:xfrm rot="5400000">
              <a:off x="11582059" y="1045293"/>
              <a:ext cx="2703052" cy="629236"/>
              <a:chOff x="1586734" y="4543426"/>
              <a:chExt cx="2703052" cy="629236"/>
            </a:xfrm>
          </p:grpSpPr>
          <p:sp>
            <p:nvSpPr>
              <p:cNvPr id="45" name="Rectangle 44"/>
              <p:cNvSpPr/>
              <p:nvPr userDrawn="1"/>
            </p:nvSpPr>
            <p:spPr bwMode="auto">
              <a:xfrm>
                <a:off x="1586734" y="4543427"/>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37" name="Rectangle 36"/>
              <p:cNvSpPr/>
              <p:nvPr userDrawn="1"/>
            </p:nvSpPr>
            <p:spPr bwMode="auto">
              <a:xfrm>
                <a:off x="3419856" y="4543428"/>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7965">
                          <a:srgbClr val="000000"/>
                        </a:gs>
                        <a:gs pos="28319">
                          <a:srgbClr val="000000"/>
                        </a:gs>
                      </a:gsLst>
                      <a:lin ang="5400000" scaled="0"/>
                    </a:gradFill>
                    <a:latin typeface="+mn-lt"/>
                    <a:ea typeface="Segoe UI" pitchFamily="34" charset="0"/>
                    <a:cs typeface="Segoe UI" pitchFamily="34" charset="0"/>
                  </a:rPr>
                  <a:t>Cyan</a:t>
                </a:r>
              </a:p>
              <a:p>
                <a:pPr algn="l" defTabSz="914102" fontAlgn="base">
                  <a:lnSpc>
                    <a:spcPct val="100000"/>
                  </a:lnSpc>
                  <a:spcBef>
                    <a:spcPct val="0"/>
                  </a:spcBef>
                  <a:spcAft>
                    <a:spcPct val="0"/>
                  </a:spcAft>
                </a:pPr>
                <a:r>
                  <a:rPr lang="en-US" sz="490" dirty="0">
                    <a:gradFill>
                      <a:gsLst>
                        <a:gs pos="7965">
                          <a:srgbClr val="000000"/>
                        </a:gs>
                        <a:gs pos="28319">
                          <a:srgbClr val="000000"/>
                        </a:gs>
                      </a:gsLst>
                      <a:lin ang="5400000" scaled="0"/>
                    </a:gradFill>
                    <a:ea typeface="Segoe UI" pitchFamily="34" charset="0"/>
                    <a:cs typeface="Segoe UI" pitchFamily="34" charset="0"/>
                  </a:rPr>
                  <a:t>R:</a:t>
                </a:r>
                <a:r>
                  <a:rPr lang="en-US" sz="490" baseline="0" dirty="0">
                    <a:gradFill>
                      <a:gsLst>
                        <a:gs pos="7965">
                          <a:srgbClr val="000000"/>
                        </a:gs>
                        <a:gs pos="28319">
                          <a:srgbClr val="000000"/>
                        </a:gs>
                      </a:gsLst>
                      <a:lin ang="5400000" scaled="0"/>
                    </a:gradFill>
                    <a:ea typeface="Segoe UI" pitchFamily="34" charset="0"/>
                    <a:cs typeface="Segoe UI" pitchFamily="34" charset="0"/>
                  </a:rPr>
                  <a:t>0 G:188 B:242</a:t>
                </a:r>
                <a:endParaRPr lang="en-US" sz="490" dirty="0">
                  <a:gradFill>
                    <a:gsLst>
                      <a:gs pos="7965">
                        <a:srgbClr val="000000"/>
                      </a:gs>
                      <a:gs pos="28319">
                        <a:srgbClr val="000000"/>
                      </a:gs>
                    </a:gsLst>
                    <a:lin ang="5400000" scaled="0"/>
                  </a:gradFill>
                  <a:ea typeface="Segoe UI" pitchFamily="34" charset="0"/>
                  <a:cs typeface="Segoe UI" pitchFamily="34" charset="0"/>
                </a:endParaRPr>
              </a:p>
            </p:txBody>
          </p:sp>
          <p:sp>
            <p:nvSpPr>
              <p:cNvPr id="41" name="Rectangle 40"/>
              <p:cNvSpPr/>
              <p:nvPr userDrawn="1"/>
            </p:nvSpPr>
            <p:spPr bwMode="auto">
              <a:xfrm>
                <a:off x="158673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92035">
                          <a:srgbClr val="505050"/>
                        </a:gs>
                        <a:gs pos="27000">
                          <a:srgbClr val="505050"/>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92035">
                          <a:srgbClr val="505050"/>
                        </a:gs>
                        <a:gs pos="27000">
                          <a:srgbClr val="505050"/>
                        </a:gs>
                      </a:gsLst>
                      <a:lin ang="5400000" scaled="0"/>
                    </a:gradFill>
                    <a:ea typeface="Segoe UI" pitchFamily="34" charset="0"/>
                    <a:cs typeface="Segoe UI" pitchFamily="34" charset="0"/>
                  </a:rPr>
                  <a:t>R:</a:t>
                </a:r>
                <a:r>
                  <a:rPr lang="en-US" sz="490" baseline="0" dirty="0">
                    <a:gradFill>
                      <a:gsLst>
                        <a:gs pos="92035">
                          <a:srgbClr val="505050"/>
                        </a:gs>
                        <a:gs pos="27000">
                          <a:srgbClr val="505050"/>
                        </a:gs>
                      </a:gsLst>
                      <a:lin ang="5400000" scaled="0"/>
                    </a:gradFill>
                    <a:ea typeface="Segoe UI" pitchFamily="34" charset="0"/>
                    <a:cs typeface="Segoe UI" pitchFamily="34" charset="0"/>
                  </a:rPr>
                  <a:t>210 G:210 B:210</a:t>
                </a:r>
                <a:endParaRPr lang="en-US" sz="490" dirty="0">
                  <a:gradFill>
                    <a:gsLst>
                      <a:gs pos="92035">
                        <a:srgbClr val="505050"/>
                      </a:gs>
                      <a:gs pos="27000">
                        <a:srgbClr val="505050"/>
                      </a:gs>
                    </a:gsLst>
                    <a:lin ang="5400000" scaled="0"/>
                  </a:gradFill>
                  <a:ea typeface="Segoe UI" pitchFamily="34" charset="0"/>
                  <a:cs typeface="Segoe UI" pitchFamily="34" charset="0"/>
                </a:endParaRPr>
              </a:p>
            </p:txBody>
          </p:sp>
          <p:sp>
            <p:nvSpPr>
              <p:cNvPr id="42" name="Rectangle 41"/>
              <p:cNvSpPr/>
              <p:nvPr userDrawn="1"/>
            </p:nvSpPr>
            <p:spPr bwMode="auto">
              <a:xfrm>
                <a:off x="2505456" y="4543426"/>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34131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2505456"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92 G:45 B:145</a:t>
                </a: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 G:124 B:16</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98467140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6"/>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17" imgW="270" imgH="270" progId="TCLayout.ActiveDocument.1">
                  <p:embed/>
                </p:oleObj>
              </mc:Choice>
              <mc:Fallback>
                <p:oleObj name="think-cell Slide" r:id="rId17" imgW="270" imgH="270" progId="TCLayout.ActiveDocument.1">
                  <p:embed/>
                  <p:pic>
                    <p:nvPicPr>
                      <p:cNvPr id="4" name="Object 3" hidden="1"/>
                      <p:cNvPicPr/>
                      <p:nvPr/>
                    </p:nvPicPr>
                    <p:blipFill>
                      <a:blip r:embed="rId18"/>
                      <a:stretch>
                        <a:fillRect/>
                      </a:stretch>
                    </p:blipFill>
                    <p:spPr>
                      <a:xfrm>
                        <a:off x="1557" y="1558"/>
                        <a:ext cx="1556" cy="1556"/>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19" cstate="screen">
            <a:extLst>
              <a:ext uri="{28A0092B-C50C-407E-A947-70E740481C1C}">
                <a14:useLocalDpi xmlns:a14="http://schemas.microsoft.com/office/drawing/2010/main" val="0"/>
              </a:ext>
            </a:extLst>
          </a:blip>
          <a:srcRect r="3957" b="4063"/>
          <a:stretch/>
        </p:blipFill>
        <p:spPr>
          <a:xfrm>
            <a:off x="10947" y="974"/>
            <a:ext cx="12170106" cy="6857027"/>
          </a:xfrm>
          <a:prstGeom prst="rect">
            <a:avLst/>
          </a:prstGeom>
        </p:spPr>
      </p:pic>
      <p:sp>
        <p:nvSpPr>
          <p:cNvPr id="2" name="Title Placeholder 1"/>
          <p:cNvSpPr>
            <a:spLocks noGrp="1"/>
          </p:cNvSpPr>
          <p:nvPr>
            <p:ph type="title"/>
          </p:nvPr>
        </p:nvSpPr>
        <p:spPr>
          <a:xfrm>
            <a:off x="560798" y="342356"/>
            <a:ext cx="11079822" cy="95760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8897421" y="6274159"/>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pPr defTabSz="914225"/>
            <a:fld id="{0D099E2A-118A-4377-8F98-2DF40BCBA9FE}" type="slidenum">
              <a:rPr lang="en-US" smtClean="0"/>
              <a:pPr defTabSz="914225"/>
              <a:t>‹#›</a:t>
            </a:fld>
            <a:endParaRPr lang="en-US" dirty="0"/>
          </a:p>
        </p:txBody>
      </p:sp>
    </p:spTree>
    <p:extLst>
      <p:ext uri="{BB962C8B-B14F-4D97-AF65-F5344CB8AC3E}">
        <p14:creationId xmlns:p14="http://schemas.microsoft.com/office/powerpoint/2010/main" val="3795867959"/>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Lst>
  <p:hf hdr="0" ftr="0" dt="0"/>
  <p:txStyles>
    <p:titleStyle>
      <a:lvl1pPr algn="l" defTabSz="914225" rtl="0" eaLnBrk="1" latinLnBrk="0" hangingPunct="1">
        <a:lnSpc>
          <a:spcPct val="90000"/>
        </a:lnSpc>
        <a:spcBef>
          <a:spcPct val="0"/>
        </a:spcBef>
        <a:buNone/>
        <a:defRPr sz="5399" kern="1200">
          <a:solidFill>
            <a:schemeClr val="bg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F26B43"/>
          </p15:clr>
        </p15:guide>
        <p15:guide id="2" pos="173">
          <p15:clr>
            <a:srgbClr val="F26B43"/>
          </p15:clr>
        </p15:guide>
        <p15:guide id="3" pos="7661">
          <p15:clr>
            <a:srgbClr val="F26B43"/>
          </p15:clr>
        </p15:guide>
        <p15:guide id="4" orient="horz" pos="421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1D4380"/>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17" cstate="screen">
            <a:extLst>
              <a:ext uri="{28A0092B-C50C-407E-A947-70E740481C1C}">
                <a14:useLocalDpi xmlns:a14="http://schemas.microsoft.com/office/drawing/2010/main" val="0"/>
              </a:ext>
            </a:extLst>
          </a:blip>
          <a:srcRect r="3957" b="4063"/>
          <a:stretch/>
        </p:blipFill>
        <p:spPr>
          <a:xfrm>
            <a:off x="10947" y="974"/>
            <a:ext cx="12170106" cy="6857027"/>
          </a:xfrm>
          <a:prstGeom prst="rect">
            <a:avLst/>
          </a:prstGeom>
        </p:spPr>
      </p:pic>
      <p:sp>
        <p:nvSpPr>
          <p:cNvPr id="2" name="Title Placeholder 1"/>
          <p:cNvSpPr>
            <a:spLocks noGrp="1"/>
          </p:cNvSpPr>
          <p:nvPr>
            <p:ph type="title"/>
          </p:nvPr>
        </p:nvSpPr>
        <p:spPr>
          <a:xfrm>
            <a:off x="560798" y="342356"/>
            <a:ext cx="11079822" cy="95760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560798" y="1482812"/>
            <a:ext cx="11079822" cy="441973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laceholder 17"/>
          <p:cNvSpPr>
            <a:spLocks noGrp="1"/>
          </p:cNvSpPr>
          <p:nvPr>
            <p:ph type="sldNum" sz="quarter" idx="4"/>
          </p:nvPr>
        </p:nvSpPr>
        <p:spPr>
          <a:xfrm>
            <a:off x="8897421" y="6274159"/>
            <a:ext cx="2743200" cy="365125"/>
          </a:xfrm>
          <a:prstGeom prst="rect">
            <a:avLst/>
          </a:prstGeom>
        </p:spPr>
        <p:txBody>
          <a:bodyPr vert="horz" lIns="91440" tIns="45720" rIns="91440" bIns="45720" rtlCol="0" anchor="ctr"/>
          <a:lstStyle>
            <a:lvl1pPr algn="r">
              <a:defRPr sz="2000">
                <a:solidFill>
                  <a:srgbClr val="289FD7"/>
                </a:solidFill>
                <a:latin typeface="+mj-lt"/>
              </a:defRPr>
            </a:lvl1pPr>
          </a:lstStyle>
          <a:p>
            <a:pPr defTabSz="914225"/>
            <a:fld id="{0D099E2A-118A-4377-8F98-2DF40BCBA9FE}" type="slidenum">
              <a:rPr lang="en-US" smtClean="0"/>
              <a:pPr defTabSz="914225"/>
              <a:t>‹#›</a:t>
            </a:fld>
            <a:endParaRPr lang="en-US" dirty="0"/>
          </a:p>
        </p:txBody>
      </p:sp>
    </p:spTree>
    <p:extLst>
      <p:ext uri="{BB962C8B-B14F-4D97-AF65-F5344CB8AC3E}">
        <p14:creationId xmlns:p14="http://schemas.microsoft.com/office/powerpoint/2010/main" val="2919791379"/>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Lst>
  <p:hf hdr="0" ftr="0" dt="0"/>
  <p:txStyles>
    <p:titleStyle>
      <a:lvl1pPr algn="l" defTabSz="914225" rtl="0" eaLnBrk="1" latinLnBrk="0" hangingPunct="1">
        <a:lnSpc>
          <a:spcPct val="90000"/>
        </a:lnSpc>
        <a:spcBef>
          <a:spcPct val="0"/>
        </a:spcBef>
        <a:buNone/>
        <a:defRPr sz="5399" kern="1200">
          <a:solidFill>
            <a:schemeClr val="bg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24.xml"/><Relationship Id="rId4" Type="http://schemas.openxmlformats.org/officeDocument/2006/relationships/image" Target="../media/image11.png"/></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1.xml"/><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2.xml"/><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3.xml"/><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4.xml"/><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5.xml"/><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4.xml"/><Relationship Id="rId4" Type="http://schemas.openxmlformats.org/officeDocument/2006/relationships/image" Target="../media/image29.png"/></Relationships>
</file>

<file path=ppt/slides/_rels/slide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6.xml"/><Relationship Id="rId1" Type="http://schemas.openxmlformats.org/officeDocument/2006/relationships/slideLayout" Target="../slideLayouts/slideLayout2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3.xml"/></Relationships>
</file>

<file path=ppt/slides/_rels/slide2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9.xml"/><Relationship Id="rId1" Type="http://schemas.openxmlformats.org/officeDocument/2006/relationships/slideLayout" Target="../slideLayouts/slideLayout38.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0.xml"/><Relationship Id="rId1" Type="http://schemas.openxmlformats.org/officeDocument/2006/relationships/slideLayout" Target="../slideLayouts/slideLayout25.xml"/></Relationships>
</file>

<file path=ppt/slides/_rels/slide2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1.xml"/><Relationship Id="rId1" Type="http://schemas.openxmlformats.org/officeDocument/2006/relationships/slideLayout" Target="../slideLayouts/slideLayout25.xml"/><Relationship Id="rId4" Type="http://schemas.openxmlformats.org/officeDocument/2006/relationships/image" Target="../media/image36.jpeg"/></Relationships>
</file>

<file path=ppt/slides/_rels/slide27.xml.rels><?xml version="1.0" encoding="UTF-8" standalone="yes"?>
<Relationships xmlns="http://schemas.openxmlformats.org/package/2006/relationships"><Relationship Id="rId3" Type="http://schemas.openxmlformats.org/officeDocument/2006/relationships/image" Target="../media/image37.emf"/><Relationship Id="rId7" Type="http://schemas.openxmlformats.org/officeDocument/2006/relationships/image" Target="../media/image41.emf"/><Relationship Id="rId2" Type="http://schemas.openxmlformats.org/officeDocument/2006/relationships/notesSlide" Target="../notesSlides/notesSlide22.xml"/><Relationship Id="rId1" Type="http://schemas.openxmlformats.org/officeDocument/2006/relationships/slideLayout" Target="../slideLayouts/slideLayout53.xml"/><Relationship Id="rId6" Type="http://schemas.openxmlformats.org/officeDocument/2006/relationships/image" Target="../media/image40.emf"/><Relationship Id="rId5" Type="http://schemas.openxmlformats.org/officeDocument/2006/relationships/image" Target="../media/image39.emf"/><Relationship Id="rId4" Type="http://schemas.openxmlformats.org/officeDocument/2006/relationships/image" Target="../media/image38.emf"/></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12.png"/></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9222" y="1855586"/>
            <a:ext cx="7125932" cy="2501370"/>
          </a:xfrm>
        </p:spPr>
        <p:txBody>
          <a:bodyPr/>
          <a:lstStyle/>
          <a:p>
            <a:r>
              <a:rPr lang="en-US" b="1" dirty="0">
                <a:solidFill>
                  <a:srgbClr val="002060"/>
                </a:solidFill>
              </a:rPr>
              <a:t>Data Science &amp; </a:t>
            </a:r>
            <a:br>
              <a:rPr lang="en-US" b="1" dirty="0">
                <a:solidFill>
                  <a:srgbClr val="002060"/>
                </a:solidFill>
              </a:rPr>
            </a:br>
            <a:r>
              <a:rPr lang="en-US" b="1" dirty="0">
                <a:solidFill>
                  <a:srgbClr val="002060"/>
                </a:solidFill>
              </a:rPr>
              <a:t>Azure Machine Learning</a:t>
            </a:r>
            <a:br>
              <a:rPr lang="en-US" b="1" dirty="0">
                <a:solidFill>
                  <a:srgbClr val="002060"/>
                </a:solidFill>
              </a:rPr>
            </a:br>
            <a:r>
              <a:rPr lang="en-US" sz="3200" b="1" dirty="0">
                <a:solidFill>
                  <a:srgbClr val="002060"/>
                </a:solidFill>
              </a:rPr>
              <a:t>For Beginners</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35915" y="6064898"/>
            <a:ext cx="2156085" cy="793102"/>
          </a:xfrm>
          <a:prstGeom prst="rect">
            <a:avLst/>
          </a:prstGeom>
        </p:spPr>
      </p:pic>
      <p:pic>
        <p:nvPicPr>
          <p:cNvPr id="1026" name="Picture 2" descr="https://azure.microsoft.com/svghandler/machine-learning/?width=600&amp;height=31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78415" y="1592637"/>
            <a:ext cx="5715000" cy="3000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499977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5946981"/>
            <a:ext cx="12192000" cy="849463"/>
          </a:xfrm>
          <a:prstGeom prst="rect">
            <a:avLst/>
          </a:prstGeom>
          <a:noFill/>
        </p:spPr>
        <p:txBody>
          <a:bodyPr wrap="square" lIns="182880" tIns="146304" rIns="182880" bIns="146304" rtlCol="0">
            <a:spAutoFit/>
          </a:bodyPr>
          <a:lstStyle/>
          <a:p>
            <a:r>
              <a:rPr lang="en-US" dirty="0"/>
              <a:t>Which viewers like the same types of movies?</a:t>
            </a:r>
          </a:p>
          <a:p>
            <a:r>
              <a:rPr lang="en-US" dirty="0"/>
              <a:t>Which printer models fail the same way?</a:t>
            </a:r>
          </a:p>
        </p:txBody>
      </p:sp>
      <p:pic>
        <p:nvPicPr>
          <p:cNvPr id="6146" name="Picture 2" descr="Clustering algorithms: How is this organized?"/>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59469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110865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descr="Reinforcement Learning algorithms: What should I do next?"/>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
            <a:ext cx="12192000" cy="5997388"/>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121024" y="6078072"/>
            <a:ext cx="11927541" cy="646331"/>
          </a:xfrm>
          <a:prstGeom prst="rect">
            <a:avLst/>
          </a:prstGeom>
        </p:spPr>
        <p:txBody>
          <a:bodyPr wrap="square">
            <a:spAutoFit/>
          </a:bodyPr>
          <a:lstStyle/>
          <a:p>
            <a:r>
              <a:rPr lang="en-US" dirty="0"/>
              <a:t>If I'm a self-driving car: At a yellow light, brake or accelerate?</a:t>
            </a:r>
          </a:p>
          <a:p>
            <a:r>
              <a:rPr lang="en-US" dirty="0"/>
              <a:t>For a robot vacuum: Keep vacuuming, or go back to the charging station?</a:t>
            </a:r>
          </a:p>
        </p:txBody>
      </p:sp>
    </p:spTree>
    <p:extLst>
      <p:ext uri="{BB962C8B-B14F-4D97-AF65-F5344CB8AC3E}">
        <p14:creationId xmlns:p14="http://schemas.microsoft.com/office/powerpoint/2010/main" val="116631369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2"/>
                </a:solidFill>
              </a:rPr>
              <a:t>[main] Is your data ready?</a:t>
            </a:r>
          </a:p>
        </p:txBody>
      </p:sp>
      <p:sp>
        <p:nvSpPr>
          <p:cNvPr id="3" name="TextBox 2"/>
          <p:cNvSpPr txBox="1"/>
          <p:nvPr/>
        </p:nvSpPr>
        <p:spPr>
          <a:xfrm>
            <a:off x="1519811" y="1734670"/>
            <a:ext cx="5203713" cy="2785378"/>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rPr>
              <a:t>Data needs to be:</a:t>
            </a:r>
            <a:endParaRPr lang="en-US" sz="3200" dirty="0"/>
          </a:p>
          <a:p>
            <a:r>
              <a:rPr lang="en-US" sz="3200" dirty="0"/>
              <a:t>- Relevant</a:t>
            </a:r>
          </a:p>
          <a:p>
            <a:r>
              <a:rPr lang="en-US" sz="3200" dirty="0"/>
              <a:t>- Connected</a:t>
            </a:r>
          </a:p>
          <a:p>
            <a:r>
              <a:rPr lang="en-US" sz="3200" dirty="0"/>
              <a:t>- Accurate</a:t>
            </a:r>
          </a:p>
          <a:p>
            <a:r>
              <a:rPr lang="en-US" sz="3200" dirty="0"/>
              <a:t>- Enough to work with</a:t>
            </a:r>
          </a:p>
        </p:txBody>
      </p:sp>
      <p:sp>
        <p:nvSpPr>
          <p:cNvPr id="4" name="TextBox 3"/>
          <p:cNvSpPr txBox="1"/>
          <p:nvPr/>
        </p:nvSpPr>
        <p:spPr>
          <a:xfrm>
            <a:off x="1238843" y="4935072"/>
            <a:ext cx="9716634"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chemeClr val="tx2"/>
                </a:solidFill>
              </a:rPr>
              <a:t>If you don’t have the right ingredients, you won’t make the right dish</a:t>
            </a:r>
          </a:p>
        </p:txBody>
      </p:sp>
      <p:pic>
        <p:nvPicPr>
          <p:cNvPr id="5" name="Picture 4"/>
          <p:cNvPicPr>
            <a:picLocks noChangeAspect="1"/>
          </p:cNvPicPr>
          <p:nvPr/>
        </p:nvPicPr>
        <p:blipFill>
          <a:blip r:embed="rId3"/>
          <a:stretch>
            <a:fillRect/>
          </a:stretch>
        </p:blipFill>
        <p:spPr>
          <a:xfrm>
            <a:off x="7396444" y="1880460"/>
            <a:ext cx="2661957" cy="2639588"/>
          </a:xfrm>
          <a:prstGeom prst="rect">
            <a:avLst/>
          </a:prstGeom>
        </p:spPr>
      </p:pic>
    </p:spTree>
    <p:extLst>
      <p:ext uri="{BB962C8B-B14F-4D97-AF65-F5344CB8AC3E}">
        <p14:creationId xmlns:p14="http://schemas.microsoft.com/office/powerpoint/2010/main" val="43481439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Relevant data vs. irrelevant data - evaluate dat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5940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3076818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Connected data vs. disconnected data - data criteria, data ready"/>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59817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4480010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Accurate data vs. inaccurate data - data criteri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038012"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48348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Do you have enough data for analysis? Data evaluatio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089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889430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Target data - examples of your answer. Formulate a data science questi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59785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947721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2"/>
                </a:solidFill>
              </a:rPr>
              <a:t>[main] Asking the right questions</a:t>
            </a:r>
          </a:p>
        </p:txBody>
      </p:sp>
      <p:sp>
        <p:nvSpPr>
          <p:cNvPr id="3" name="TextBox 2"/>
          <p:cNvSpPr txBox="1"/>
          <p:nvPr/>
        </p:nvSpPr>
        <p:spPr>
          <a:xfrm>
            <a:off x="4007523" y="1680881"/>
            <a:ext cx="5203713" cy="738664"/>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917">
                      <a:schemeClr val="tx1"/>
                    </a:gs>
                    <a:gs pos="30000">
                      <a:schemeClr val="tx1"/>
                    </a:gs>
                  </a:gsLst>
                  <a:lin ang="5400000" scaled="0"/>
                </a:gradFill>
              </a:rPr>
              <a:t>Ask a sharp question</a:t>
            </a:r>
          </a:p>
        </p:txBody>
      </p:sp>
      <p:pic>
        <p:nvPicPr>
          <p:cNvPr id="5122" name="Picture 2" descr="Image result for geni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16022" y="2288800"/>
            <a:ext cx="2962275" cy="3152775"/>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2614498" y="5258388"/>
            <a:ext cx="7261155"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The right parameters will give you the right answer</a:t>
            </a:r>
          </a:p>
        </p:txBody>
      </p:sp>
    </p:spTree>
    <p:extLst>
      <p:ext uri="{BB962C8B-B14F-4D97-AF65-F5344CB8AC3E}">
        <p14:creationId xmlns:p14="http://schemas.microsoft.com/office/powerpoint/2010/main" val="206938044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Reformulate your question. Classification question vs. regression questi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1531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49182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0" y="2764261"/>
            <a:ext cx="12192000" cy="933090"/>
          </a:xfrm>
          <a:prstGeom prst="rect">
            <a:avLst/>
          </a:prstGeom>
          <a:noFill/>
        </p:spPr>
        <p:txBody>
          <a:bodyPr vert="horz" lIns="91440" tIns="91440" rIns="91440" bIns="91440" rtlCol="0" anchor="t" anchorCtr="0">
            <a:noAutofit/>
          </a:bodyPr>
          <a:lstStyle>
            <a:lvl1pPr algn="ctr" defTabSz="914400" rtl="0" eaLnBrk="1" latinLnBrk="0" hangingPunct="1">
              <a:lnSpc>
                <a:spcPct val="90000"/>
              </a:lnSpc>
              <a:spcBef>
                <a:spcPct val="0"/>
              </a:spcBef>
              <a:buNone/>
              <a:defRPr sz="8800" kern="1200" spc="-100" baseline="0">
                <a:gradFill>
                  <a:gsLst>
                    <a:gs pos="100000">
                      <a:schemeClr val="tx1"/>
                    </a:gs>
                    <a:gs pos="0">
                      <a:schemeClr val="tx1"/>
                    </a:gs>
                  </a:gsLst>
                  <a:lin ang="5400000" scaled="0"/>
                </a:gradFill>
                <a:latin typeface="+mj-lt"/>
                <a:ea typeface="+mj-ea"/>
                <a:cs typeface="+mj-cs"/>
              </a:defRPr>
            </a:lvl1pPr>
          </a:lstStyle>
          <a:p>
            <a:r>
              <a:rPr lang="en-US" sz="6000" b="1" dirty="0">
                <a:solidFill>
                  <a:srgbClr val="002060"/>
                </a:solidFill>
                <a:latin typeface="Segoe UI Light" panose="020B0502040204020203" pitchFamily="34" charset="0"/>
              </a:rPr>
              <a:t>Introduction to Data Science</a:t>
            </a:r>
          </a:p>
        </p:txBody>
      </p:sp>
    </p:spTree>
    <p:extLst>
      <p:ext uri="{BB962C8B-B14F-4D97-AF65-F5344CB8AC3E}">
        <p14:creationId xmlns:p14="http://schemas.microsoft.com/office/powerpoint/2010/main" val="237454254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188258"/>
            <a:ext cx="11655840" cy="899665"/>
          </a:xfrm>
        </p:spPr>
        <p:txBody>
          <a:bodyPr/>
          <a:lstStyle/>
          <a:p>
            <a:r>
              <a:rPr lang="en-US" dirty="0">
                <a:solidFill>
                  <a:schemeClr val="accent2"/>
                </a:solidFill>
              </a:rPr>
              <a:t>Simple algorithm – Linear regression</a:t>
            </a:r>
          </a:p>
        </p:txBody>
      </p:sp>
      <p:pic>
        <p:nvPicPr>
          <p:cNvPr id="3074" name="Picture 2" descr="Scatter plot"/>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6267" y="1734671"/>
            <a:ext cx="3627705" cy="3181714"/>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Linear regression lin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73971" y="1734671"/>
            <a:ext cx="3640475" cy="3193562"/>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Find the answer on the model"/>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14446" y="1734671"/>
            <a:ext cx="3591516" cy="31817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7517851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0" y="2764261"/>
            <a:ext cx="12192000" cy="933090"/>
          </a:xfrm>
          <a:prstGeom prst="rect">
            <a:avLst/>
          </a:prstGeom>
          <a:noFill/>
        </p:spPr>
        <p:txBody>
          <a:bodyPr vert="horz" lIns="91440" tIns="91440" rIns="91440" bIns="91440" rtlCol="0" anchor="t" anchorCtr="0">
            <a:noAutofit/>
          </a:bodyPr>
          <a:lstStyle>
            <a:lvl1pPr algn="ctr" defTabSz="914400" rtl="0" eaLnBrk="1" latinLnBrk="0" hangingPunct="1">
              <a:lnSpc>
                <a:spcPct val="90000"/>
              </a:lnSpc>
              <a:spcBef>
                <a:spcPct val="0"/>
              </a:spcBef>
              <a:buNone/>
              <a:defRPr sz="8800" kern="1200" spc="-100" baseline="0">
                <a:gradFill>
                  <a:gsLst>
                    <a:gs pos="100000">
                      <a:schemeClr val="tx1"/>
                    </a:gs>
                    <a:gs pos="0">
                      <a:schemeClr val="tx1"/>
                    </a:gs>
                  </a:gsLst>
                  <a:lin ang="5400000" scaled="0"/>
                </a:gradFill>
                <a:latin typeface="+mj-lt"/>
                <a:ea typeface="+mj-ea"/>
                <a:cs typeface="+mj-cs"/>
              </a:defRPr>
            </a:lvl1pPr>
          </a:lstStyle>
          <a:p>
            <a:r>
              <a:rPr lang="en-US" sz="6000" b="1" dirty="0">
                <a:solidFill>
                  <a:srgbClr val="002060"/>
                </a:solidFill>
                <a:latin typeface="Segoe UI Light" panose="020B0502040204020203" pitchFamily="34" charset="0"/>
              </a:rPr>
              <a:t>Introduction to Azure ML</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35915" y="6064898"/>
            <a:ext cx="2156085" cy="793102"/>
          </a:xfrm>
          <a:prstGeom prst="rect">
            <a:avLst/>
          </a:prstGeom>
        </p:spPr>
      </p:pic>
    </p:spTree>
    <p:extLst>
      <p:ext uri="{BB962C8B-B14F-4D97-AF65-F5344CB8AC3E}">
        <p14:creationId xmlns:p14="http://schemas.microsoft.com/office/powerpoint/2010/main" val="327454728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p:cNvSpPr/>
          <p:nvPr/>
        </p:nvSpPr>
        <p:spPr>
          <a:xfrm>
            <a:off x="619588" y="714003"/>
            <a:ext cx="6492049" cy="5403264"/>
          </a:xfrm>
          <a:prstGeom prst="rect">
            <a:avLst/>
          </a:prstGeom>
          <a:solidFill>
            <a:srgbClr val="000000">
              <a:alpha val="20000"/>
            </a:srgbClr>
          </a:solidFill>
          <a:ln>
            <a:noFill/>
            <a:headEnd type="none" w="med" len="med"/>
            <a:tailEnd type="none" w="med" len="med"/>
          </a:ln>
          <a:effectLst/>
        </p:spPr>
        <p:txBody>
          <a:bodyPr vert="horz" wrap="square" lIns="89642" tIns="89642" rIns="179285" bIns="45693" numCol="1" rtlCol="0" anchor="ctr" anchorCtr="0" compatLnSpc="1">
            <a:prstTxWarp prst="textNoShape">
              <a:avLst/>
            </a:prstTxWarp>
          </a:bodyPr>
          <a:lstStyle/>
          <a:p>
            <a:pPr marL="358555" defTabSz="913561" fontAlgn="base">
              <a:spcBef>
                <a:spcPts val="1176"/>
              </a:spcBef>
              <a:spcAft>
                <a:spcPts val="1176"/>
              </a:spcAft>
            </a:pPr>
            <a:endParaRPr lang="en-GB" sz="1372" kern="0" dirty="0">
              <a:solidFill>
                <a:srgbClr val="FFFFFF"/>
              </a:solidFill>
              <a:latin typeface="Segoe UI"/>
            </a:endParaRPr>
          </a:p>
        </p:txBody>
      </p:sp>
      <p:grpSp>
        <p:nvGrpSpPr>
          <p:cNvPr id="6" name="Group 26"/>
          <p:cNvGrpSpPr/>
          <p:nvPr/>
        </p:nvGrpSpPr>
        <p:grpSpPr>
          <a:xfrm>
            <a:off x="7111638" y="714003"/>
            <a:ext cx="5080362" cy="5403264"/>
            <a:chOff x="6918961" y="835400"/>
            <a:chExt cx="5517514" cy="5511611"/>
          </a:xfrm>
        </p:grpSpPr>
        <p:sp>
          <p:nvSpPr>
            <p:cNvPr id="7" name="Rectangle 6"/>
            <p:cNvSpPr/>
            <p:nvPr/>
          </p:nvSpPr>
          <p:spPr bwMode="auto">
            <a:xfrm>
              <a:off x="6918961" y="835400"/>
              <a:ext cx="5517514" cy="5511611"/>
            </a:xfrm>
            <a:prstGeom prst="rect">
              <a:avLst/>
            </a:prstGeom>
            <a:solidFill>
              <a:srgbClr val="0072C6">
                <a:alpha val="89804"/>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45720" rIns="89642" bIns="45720" numCol="1" rtlCol="0" anchor="ctr" anchorCtr="0" compatLnSpc="1">
              <a:prstTxWarp prst="textNoShape">
                <a:avLst/>
              </a:prstTxWarp>
            </a:bodyPr>
            <a:lstStyle/>
            <a:p>
              <a:pPr defTabSz="914102" fontAlgn="base">
                <a:spcBef>
                  <a:spcPct val="0"/>
                </a:spcBef>
                <a:spcAft>
                  <a:spcPct val="0"/>
                </a:spcAft>
              </a:pPr>
              <a:endParaRPr lang="en-US" sz="2353" dirty="0">
                <a:solidFill>
                  <a:srgbClr val="FFFFFF"/>
                </a:solidFill>
                <a:latin typeface="Segoe UI"/>
              </a:endParaRPr>
            </a:p>
          </p:txBody>
        </p:sp>
        <p:cxnSp>
          <p:nvCxnSpPr>
            <p:cNvPr id="8" name="Straight Connector 7"/>
            <p:cNvCxnSpPr/>
            <p:nvPr/>
          </p:nvCxnSpPr>
          <p:spPr>
            <a:xfrm>
              <a:off x="7045497" y="2861082"/>
              <a:ext cx="5390977" cy="0"/>
            </a:xfrm>
            <a:prstGeom prst="line">
              <a:avLst/>
            </a:prstGeom>
            <a:ln w="12700">
              <a:solidFill>
                <a:srgbClr val="00BCF1">
                  <a:alpha val="49804"/>
                </a:srgb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5" name="Rectangle 4"/>
          <p:cNvSpPr/>
          <p:nvPr/>
        </p:nvSpPr>
        <p:spPr>
          <a:xfrm>
            <a:off x="1133705" y="1795718"/>
            <a:ext cx="6094444" cy="2745710"/>
          </a:xfrm>
          <a:prstGeom prst="rect">
            <a:avLst/>
          </a:prstGeom>
        </p:spPr>
        <p:txBody>
          <a:bodyPr>
            <a:spAutoFit/>
          </a:bodyPr>
          <a:lstStyle/>
          <a:p>
            <a:pPr marL="358555" defTabSz="913561" fontAlgn="base">
              <a:spcBef>
                <a:spcPts val="1176"/>
              </a:spcBef>
              <a:spcAft>
                <a:spcPts val="1176"/>
              </a:spcAft>
            </a:pPr>
            <a:r>
              <a:rPr lang="en-US" sz="2353" i="1" kern="0" dirty="0">
                <a:solidFill>
                  <a:srgbClr val="FFFFFF"/>
                </a:solidFill>
                <a:latin typeface="Segoe UI Light"/>
              </a:rPr>
              <a:t>I need our systems to think. </a:t>
            </a:r>
            <a:br>
              <a:rPr lang="en-US" sz="2353" i="1" kern="0" dirty="0">
                <a:solidFill>
                  <a:srgbClr val="FFFFFF"/>
                </a:solidFill>
                <a:latin typeface="Segoe UI Light"/>
              </a:rPr>
            </a:br>
            <a:r>
              <a:rPr lang="en-US" sz="2353" i="1" kern="0" dirty="0">
                <a:solidFill>
                  <a:srgbClr val="FFFFFF"/>
                </a:solidFill>
                <a:latin typeface="Segoe UI Light"/>
              </a:rPr>
              <a:t>I need them to learn and </a:t>
            </a:r>
            <a:br>
              <a:rPr lang="en-US" sz="2353" i="1" kern="0" dirty="0">
                <a:solidFill>
                  <a:srgbClr val="FFFFFF"/>
                </a:solidFill>
                <a:latin typeface="Segoe UI Light"/>
              </a:rPr>
            </a:br>
            <a:r>
              <a:rPr lang="en-US" sz="2353" i="1" kern="0" dirty="0">
                <a:solidFill>
                  <a:srgbClr val="FFFFFF"/>
                </a:solidFill>
                <a:latin typeface="Segoe UI Light"/>
              </a:rPr>
              <a:t>I need them to present issues </a:t>
            </a:r>
            <a:br>
              <a:rPr lang="en-US" sz="2353" i="1" kern="0" dirty="0">
                <a:solidFill>
                  <a:srgbClr val="FFFFFF"/>
                </a:solidFill>
                <a:latin typeface="Segoe UI Light"/>
              </a:rPr>
            </a:br>
            <a:r>
              <a:rPr lang="en-US" sz="2353" i="1" kern="0" dirty="0">
                <a:solidFill>
                  <a:srgbClr val="FFFFFF"/>
                </a:solidFill>
                <a:latin typeface="Segoe UI Light"/>
              </a:rPr>
              <a:t>and problems and anomalies </a:t>
            </a:r>
            <a:br>
              <a:rPr lang="en-US" sz="2353" i="1" kern="0" dirty="0">
                <a:solidFill>
                  <a:srgbClr val="FFFFFF"/>
                </a:solidFill>
                <a:latin typeface="Segoe UI Light"/>
              </a:rPr>
            </a:br>
            <a:r>
              <a:rPr lang="en-US" sz="2353" i="1" kern="0" dirty="0">
                <a:solidFill>
                  <a:srgbClr val="FFFFFF"/>
                </a:solidFill>
                <a:latin typeface="Segoe UI Light"/>
              </a:rPr>
              <a:t>to the employees, to the managers.</a:t>
            </a:r>
          </a:p>
          <a:p>
            <a:pPr marL="358555" defTabSz="913561" fontAlgn="base">
              <a:spcBef>
                <a:spcPct val="0"/>
              </a:spcBef>
              <a:spcAft>
                <a:spcPct val="0"/>
              </a:spcAft>
            </a:pPr>
            <a:r>
              <a:rPr lang="en-GB" sz="1765" b="1" kern="0" dirty="0">
                <a:solidFill>
                  <a:srgbClr val="FFFFFF"/>
                </a:solidFill>
                <a:latin typeface="Segoe UI"/>
              </a:rPr>
              <a:t>Adam Coffey</a:t>
            </a:r>
            <a:br>
              <a:rPr lang="en-GB" sz="1765" kern="0" dirty="0">
                <a:solidFill>
                  <a:srgbClr val="FFFFFF"/>
                </a:solidFill>
                <a:latin typeface="Segoe UI"/>
              </a:rPr>
            </a:br>
            <a:r>
              <a:rPr lang="en-GB" sz="1372" kern="0" dirty="0">
                <a:solidFill>
                  <a:srgbClr val="FFFFFF"/>
                </a:solidFill>
                <a:latin typeface="Segoe UI"/>
              </a:rPr>
              <a:t>President and CEO </a:t>
            </a:r>
          </a:p>
          <a:p>
            <a:pPr marL="358555" defTabSz="913561" fontAlgn="base">
              <a:spcBef>
                <a:spcPct val="0"/>
              </a:spcBef>
              <a:spcAft>
                <a:spcPct val="0"/>
              </a:spcAft>
            </a:pPr>
            <a:r>
              <a:rPr lang="en-GB" sz="1372" kern="0" dirty="0">
                <a:solidFill>
                  <a:srgbClr val="FFFFFF"/>
                </a:solidFill>
                <a:latin typeface="Segoe UI"/>
              </a:rPr>
              <a:t>WASH Laundry Systems </a:t>
            </a:r>
          </a:p>
        </p:txBody>
      </p:sp>
      <p:sp>
        <p:nvSpPr>
          <p:cNvPr id="9" name="Title 3"/>
          <p:cNvSpPr txBox="1">
            <a:spLocks/>
          </p:cNvSpPr>
          <p:nvPr/>
        </p:nvSpPr>
        <p:spPr>
          <a:xfrm>
            <a:off x="7174512" y="1169629"/>
            <a:ext cx="4614833" cy="1795962"/>
          </a:xfrm>
          <a:prstGeom prst="rect">
            <a:avLst/>
          </a:prstGeom>
          <a:noFill/>
        </p:spPr>
        <p:txBody>
          <a:bodyPr vert="horz" wrap="square" lIns="143428" tIns="89642" rIns="143428" bIns="89642" rtlCol="0" anchor="t" anchorCtr="0">
            <a:noAutofit/>
          </a:bodyPr>
          <a:lstStyle/>
          <a:p>
            <a:pPr defTabSz="914367">
              <a:lnSpc>
                <a:spcPct val="90000"/>
              </a:lnSpc>
              <a:spcBef>
                <a:spcPct val="0"/>
              </a:spcBef>
              <a:defRPr/>
            </a:pPr>
            <a:r>
              <a:rPr lang="en-US" sz="4313" spc="-98" dirty="0">
                <a:ln w="3175">
                  <a:noFill/>
                </a:ln>
                <a:solidFill>
                  <a:srgbClr val="FFFFFF"/>
                </a:solidFill>
                <a:latin typeface="Segoe UI Light"/>
                <a:cs typeface="Segoe UI" pitchFamily="34" charset="0"/>
              </a:rPr>
              <a:t>What is </a:t>
            </a:r>
            <a:br>
              <a:rPr lang="en-US" sz="4313" spc="-98" dirty="0">
                <a:ln w="3175">
                  <a:noFill/>
                </a:ln>
                <a:solidFill>
                  <a:srgbClr val="FFFFFF"/>
                </a:solidFill>
                <a:latin typeface="Segoe UI Light"/>
                <a:cs typeface="Segoe UI" pitchFamily="34" charset="0"/>
              </a:rPr>
            </a:br>
            <a:r>
              <a:rPr lang="en-US" sz="4313" spc="-98" dirty="0">
                <a:ln w="3175">
                  <a:noFill/>
                </a:ln>
                <a:solidFill>
                  <a:srgbClr val="FFFFFF"/>
                </a:solidFill>
                <a:latin typeface="Segoe UI Light"/>
                <a:cs typeface="Segoe UI" pitchFamily="34" charset="0"/>
              </a:rPr>
              <a:t>Machine Learning?</a:t>
            </a:r>
          </a:p>
          <a:p>
            <a:pPr defTabSz="914367">
              <a:lnSpc>
                <a:spcPct val="90000"/>
              </a:lnSpc>
              <a:spcBef>
                <a:spcPct val="0"/>
              </a:spcBef>
              <a:defRPr/>
            </a:pPr>
            <a:endParaRPr lang="en-US" sz="3137" spc="-98" dirty="0">
              <a:ln w="3175">
                <a:noFill/>
              </a:ln>
              <a:solidFill>
                <a:srgbClr val="FFFFFF"/>
              </a:solidFill>
              <a:latin typeface="Segoe UI Light"/>
              <a:cs typeface="Segoe UI" pitchFamily="34" charset="0"/>
            </a:endParaRPr>
          </a:p>
          <a:p>
            <a:pPr defTabSz="914367">
              <a:lnSpc>
                <a:spcPct val="90000"/>
              </a:lnSpc>
              <a:spcBef>
                <a:spcPct val="0"/>
              </a:spcBef>
              <a:spcAft>
                <a:spcPts val="1765"/>
              </a:spcAft>
              <a:defRPr/>
            </a:pPr>
            <a:r>
              <a:rPr lang="en-US" sz="3137" spc="-98" dirty="0">
                <a:ln w="3175">
                  <a:noFill/>
                </a:ln>
                <a:solidFill>
                  <a:srgbClr val="FFFFFF"/>
                </a:solidFill>
                <a:latin typeface="Segoe UI Light"/>
                <a:cs typeface="Segoe UI" pitchFamily="34" charset="0"/>
              </a:rPr>
              <a:t>Computing systems </a:t>
            </a:r>
            <a:br>
              <a:rPr lang="en-US" sz="3137" spc="-98" dirty="0">
                <a:ln w="3175">
                  <a:noFill/>
                </a:ln>
                <a:solidFill>
                  <a:srgbClr val="FFFFFF"/>
                </a:solidFill>
                <a:latin typeface="Segoe UI Light"/>
                <a:cs typeface="Segoe UI" pitchFamily="34" charset="0"/>
              </a:rPr>
            </a:br>
            <a:r>
              <a:rPr lang="en-US" sz="3137" spc="-98" dirty="0">
                <a:ln w="3175">
                  <a:noFill/>
                </a:ln>
                <a:solidFill>
                  <a:srgbClr val="FFFFFF"/>
                </a:solidFill>
                <a:latin typeface="Segoe UI Light"/>
                <a:cs typeface="Segoe UI" pitchFamily="34" charset="0"/>
              </a:rPr>
              <a:t>that become smarter </a:t>
            </a:r>
            <a:br>
              <a:rPr lang="en-US" sz="3137" spc="-98" dirty="0">
                <a:ln w="3175">
                  <a:noFill/>
                </a:ln>
                <a:solidFill>
                  <a:srgbClr val="FFFFFF"/>
                </a:solidFill>
                <a:latin typeface="Segoe UI Light"/>
                <a:cs typeface="Segoe UI" pitchFamily="34" charset="0"/>
              </a:rPr>
            </a:br>
            <a:r>
              <a:rPr lang="en-US" sz="3137" spc="-98" dirty="0">
                <a:ln w="3175">
                  <a:noFill/>
                </a:ln>
                <a:solidFill>
                  <a:srgbClr val="FFFFFF"/>
                </a:solidFill>
                <a:latin typeface="Segoe UI Light"/>
                <a:cs typeface="Segoe UI" pitchFamily="34" charset="0"/>
              </a:rPr>
              <a:t>with experience</a:t>
            </a:r>
          </a:p>
          <a:p>
            <a:pPr defTabSz="914367">
              <a:lnSpc>
                <a:spcPct val="90000"/>
              </a:lnSpc>
              <a:spcBef>
                <a:spcPct val="0"/>
              </a:spcBef>
              <a:spcAft>
                <a:spcPts val="1765"/>
              </a:spcAft>
              <a:defRPr/>
            </a:pPr>
            <a:r>
              <a:rPr lang="en-US" sz="2353" spc="-98" dirty="0">
                <a:ln w="3175">
                  <a:noFill/>
                </a:ln>
                <a:solidFill>
                  <a:srgbClr val="FFFFFF"/>
                </a:solidFill>
                <a:latin typeface="Segoe UI Light"/>
                <a:cs typeface="Segoe UI" pitchFamily="34" charset="0"/>
              </a:rPr>
              <a:t>“Experience” = </a:t>
            </a:r>
            <a:br>
              <a:rPr lang="en-US" sz="2353" spc="-98" dirty="0">
                <a:ln w="3175">
                  <a:noFill/>
                </a:ln>
                <a:solidFill>
                  <a:srgbClr val="FFFFFF"/>
                </a:solidFill>
                <a:latin typeface="Segoe UI Light"/>
                <a:cs typeface="Segoe UI" pitchFamily="34" charset="0"/>
              </a:rPr>
            </a:br>
            <a:r>
              <a:rPr lang="en-US" sz="2353" spc="-98" dirty="0">
                <a:ln w="3175">
                  <a:noFill/>
                </a:ln>
                <a:solidFill>
                  <a:srgbClr val="FFFFFF"/>
                </a:solidFill>
                <a:latin typeface="Segoe UI Light"/>
                <a:cs typeface="Segoe UI" pitchFamily="34" charset="0"/>
              </a:rPr>
              <a:t>past data + human input </a:t>
            </a:r>
          </a:p>
        </p:txBody>
      </p:sp>
      <p:sp>
        <p:nvSpPr>
          <p:cNvPr id="10" name="Rectangle 9"/>
          <p:cNvSpPr/>
          <p:nvPr/>
        </p:nvSpPr>
        <p:spPr>
          <a:xfrm>
            <a:off x="933767" y="1795718"/>
            <a:ext cx="888683" cy="6848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7058" spc="-98" dirty="0">
                <a:solidFill>
                  <a:srgbClr val="00BCF1"/>
                </a:solidFill>
                <a:latin typeface="Perpetua" panose="02020502060401020303" pitchFamily="18" charset="0"/>
              </a:rPr>
              <a:t>“</a:t>
            </a:r>
          </a:p>
        </p:txBody>
      </p:sp>
      <p:sp>
        <p:nvSpPr>
          <p:cNvPr id="3" name="Rectangle 2"/>
          <p:cNvSpPr/>
          <p:nvPr/>
        </p:nvSpPr>
        <p:spPr>
          <a:xfrm>
            <a:off x="5836201" y="3067089"/>
            <a:ext cx="440332" cy="1086215"/>
          </a:xfrm>
          <a:prstGeom prst="rect">
            <a:avLst/>
          </a:prstGeom>
        </p:spPr>
        <p:txBody>
          <a:bodyPr wrap="none">
            <a:spAutoFit/>
          </a:bodyPr>
          <a:lstStyle/>
          <a:p>
            <a:pPr algn="ctr" defTabSz="914367"/>
            <a:r>
              <a:rPr lang="en-US" sz="6470" dirty="0">
                <a:solidFill>
                  <a:srgbClr val="00BCF1"/>
                </a:solidFill>
                <a:latin typeface="Perpetua" panose="02020502060401020303" pitchFamily="18" charset="0"/>
              </a:rPr>
              <a:t>”</a:t>
            </a:r>
          </a:p>
        </p:txBody>
      </p:sp>
    </p:spTree>
    <p:extLst>
      <p:ext uri="{BB962C8B-B14F-4D97-AF65-F5344CB8AC3E}">
        <p14:creationId xmlns:p14="http://schemas.microsoft.com/office/powerpoint/2010/main" val="232784876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p:cNvSpPr/>
          <p:nvPr/>
        </p:nvSpPr>
        <p:spPr bwMode="auto">
          <a:xfrm>
            <a:off x="3712023" y="2717832"/>
            <a:ext cx="1434280" cy="2667262"/>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algn="ctr" defTabSz="914102" fontAlgn="base">
              <a:spcBef>
                <a:spcPts val="588"/>
              </a:spcBef>
              <a:spcAft>
                <a:spcPct val="0"/>
              </a:spcAft>
            </a:pPr>
            <a:r>
              <a:rPr lang="en-US" sz="1568" dirty="0">
                <a:solidFill>
                  <a:srgbClr val="FFFFFF"/>
                </a:solidFill>
                <a:latin typeface="Segoe UI"/>
              </a:rPr>
              <a:t>Bing maps</a:t>
            </a:r>
            <a:br>
              <a:rPr lang="en-US" sz="1568" dirty="0">
                <a:solidFill>
                  <a:srgbClr val="FFFFFF"/>
                </a:solidFill>
                <a:latin typeface="Segoe UI"/>
              </a:rPr>
            </a:br>
            <a:r>
              <a:rPr lang="en-US" sz="1568" dirty="0">
                <a:solidFill>
                  <a:srgbClr val="FFFFFF"/>
                </a:solidFill>
                <a:latin typeface="Segoe UI"/>
              </a:rPr>
              <a:t>launches</a:t>
            </a:r>
          </a:p>
          <a:p>
            <a:pPr algn="ctr" defTabSz="914102" fontAlgn="base">
              <a:spcBef>
                <a:spcPts val="588"/>
              </a:spcBef>
              <a:spcAft>
                <a:spcPct val="0"/>
              </a:spcAft>
            </a:pPr>
            <a:br>
              <a:rPr lang="en-US" sz="1568" dirty="0">
                <a:solidFill>
                  <a:srgbClr val="FFFFFF"/>
                </a:solidFill>
                <a:latin typeface="Segoe UI"/>
              </a:rPr>
            </a:br>
            <a:endParaRPr lang="en-US" sz="1568" dirty="0">
              <a:solidFill>
                <a:srgbClr val="FFFFFF"/>
              </a:solidFill>
              <a:latin typeface="Segoe UI"/>
            </a:endParaRPr>
          </a:p>
          <a:p>
            <a:pPr algn="ctr" defTabSz="914102" fontAlgn="base">
              <a:spcBef>
                <a:spcPts val="588"/>
              </a:spcBef>
              <a:spcAft>
                <a:spcPct val="0"/>
              </a:spcAft>
            </a:pPr>
            <a:r>
              <a:rPr lang="en-US" sz="1568" dirty="0">
                <a:solidFill>
                  <a:srgbClr val="00B0F0"/>
                </a:solidFill>
                <a:latin typeface="Segoe UI"/>
              </a:rPr>
              <a:t>What’s the best way home?  </a:t>
            </a:r>
          </a:p>
          <a:p>
            <a:pPr algn="ctr" defTabSz="914102" fontAlgn="base">
              <a:spcBef>
                <a:spcPts val="588"/>
              </a:spcBef>
              <a:spcAft>
                <a:spcPct val="0"/>
              </a:spcAft>
            </a:pPr>
            <a:endParaRPr lang="en-IN" sz="1568" dirty="0">
              <a:solidFill>
                <a:srgbClr val="FFFFFF"/>
              </a:solidFill>
              <a:latin typeface="Segoe UI"/>
              <a:ea typeface="Segoe UI" pitchFamily="34" charset="0"/>
              <a:cs typeface="Segoe UI" pitchFamily="34" charset="0"/>
            </a:endParaRPr>
          </a:p>
        </p:txBody>
      </p:sp>
      <p:sp>
        <p:nvSpPr>
          <p:cNvPr id="52" name="Rectangle 51"/>
          <p:cNvSpPr/>
          <p:nvPr/>
        </p:nvSpPr>
        <p:spPr bwMode="auto">
          <a:xfrm>
            <a:off x="407076" y="2717832"/>
            <a:ext cx="1434280" cy="2667262"/>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algn="ctr" defTabSz="914102" fontAlgn="base">
              <a:spcBef>
                <a:spcPts val="588"/>
              </a:spcBef>
              <a:spcAft>
                <a:spcPct val="0"/>
              </a:spcAft>
            </a:pPr>
            <a:r>
              <a:rPr lang="en-IN" sz="1568" dirty="0">
                <a:solidFill>
                  <a:srgbClr val="FFFFFF"/>
                </a:solidFill>
                <a:latin typeface="Segoe UI"/>
                <a:ea typeface="Segoe UI" pitchFamily="34" charset="0"/>
                <a:cs typeface="Segoe UI" pitchFamily="34" charset="0"/>
              </a:rPr>
              <a:t>Microsoft Research formed</a:t>
            </a:r>
          </a:p>
        </p:txBody>
      </p:sp>
      <p:sp>
        <p:nvSpPr>
          <p:cNvPr id="53" name="Rectangle 52"/>
          <p:cNvSpPr/>
          <p:nvPr/>
        </p:nvSpPr>
        <p:spPr bwMode="auto">
          <a:xfrm>
            <a:off x="7016969" y="2717833"/>
            <a:ext cx="1434280" cy="2626995"/>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algn="ctr" defTabSz="914102" fontAlgn="base">
              <a:spcBef>
                <a:spcPts val="588"/>
              </a:spcBef>
              <a:spcAft>
                <a:spcPct val="0"/>
              </a:spcAft>
            </a:pPr>
            <a:r>
              <a:rPr lang="en-IN" sz="1568" dirty="0">
                <a:solidFill>
                  <a:srgbClr val="FFFFFF"/>
                </a:solidFill>
                <a:latin typeface="Segoe UI"/>
                <a:ea typeface="Segoe UI" pitchFamily="34" charset="0"/>
                <a:cs typeface="Segoe UI" pitchFamily="34" charset="0"/>
              </a:rPr>
              <a:t>Kinect launches</a:t>
            </a:r>
          </a:p>
          <a:p>
            <a:pPr algn="ctr" defTabSz="914102" fontAlgn="base">
              <a:spcBef>
                <a:spcPts val="588"/>
              </a:spcBef>
              <a:spcAft>
                <a:spcPct val="0"/>
              </a:spcAft>
            </a:pPr>
            <a:br>
              <a:rPr lang="en-IN" sz="1568" dirty="0">
                <a:solidFill>
                  <a:srgbClr val="FFFFFF"/>
                </a:solidFill>
                <a:latin typeface="Segoe UI"/>
                <a:ea typeface="Segoe UI" pitchFamily="34" charset="0"/>
                <a:cs typeface="Segoe UI" pitchFamily="34" charset="0"/>
              </a:rPr>
            </a:br>
            <a:endParaRPr lang="en-IN" sz="1568" dirty="0">
              <a:solidFill>
                <a:srgbClr val="FFFFFF"/>
              </a:solidFill>
              <a:latin typeface="Segoe UI"/>
              <a:ea typeface="Segoe UI" pitchFamily="34" charset="0"/>
              <a:cs typeface="Segoe UI" pitchFamily="34" charset="0"/>
            </a:endParaRPr>
          </a:p>
          <a:p>
            <a:pPr algn="ctr" defTabSz="914102" fontAlgn="base">
              <a:spcBef>
                <a:spcPts val="588"/>
              </a:spcBef>
              <a:spcAft>
                <a:spcPct val="0"/>
              </a:spcAft>
            </a:pPr>
            <a:r>
              <a:rPr lang="en-IN" sz="1568" dirty="0">
                <a:solidFill>
                  <a:srgbClr val="00B0F0"/>
                </a:solidFill>
                <a:latin typeface="Segoe UI"/>
                <a:ea typeface="Segoe UI" pitchFamily="34" charset="0"/>
                <a:cs typeface="Segoe UI" pitchFamily="34" charset="0"/>
              </a:rPr>
              <a:t>What does that motion “mean”?</a:t>
            </a:r>
          </a:p>
        </p:txBody>
      </p:sp>
      <p:sp>
        <p:nvSpPr>
          <p:cNvPr id="54" name="Rectangle 53"/>
          <p:cNvSpPr/>
          <p:nvPr/>
        </p:nvSpPr>
        <p:spPr bwMode="auto">
          <a:xfrm>
            <a:off x="10321914" y="2717832"/>
            <a:ext cx="1434280" cy="2667262"/>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algn="ctr" defTabSz="914102" fontAlgn="base">
              <a:spcBef>
                <a:spcPts val="588"/>
              </a:spcBef>
              <a:spcAft>
                <a:spcPct val="0"/>
              </a:spcAft>
            </a:pPr>
            <a:r>
              <a:rPr lang="en-IN" sz="1568" dirty="0">
                <a:solidFill>
                  <a:srgbClr val="FFFFFF"/>
                </a:solidFill>
                <a:latin typeface="Segoe UI"/>
                <a:ea typeface="Segoe UI" pitchFamily="34" charset="0"/>
                <a:cs typeface="Segoe UI" pitchFamily="34" charset="0"/>
              </a:rPr>
              <a:t>Azure Machine Learning GA</a:t>
            </a:r>
          </a:p>
          <a:p>
            <a:pPr algn="ctr" defTabSz="914102" fontAlgn="base">
              <a:spcBef>
                <a:spcPts val="588"/>
              </a:spcBef>
              <a:spcAft>
                <a:spcPct val="0"/>
              </a:spcAft>
            </a:pPr>
            <a:endParaRPr lang="en-IN" sz="1568" dirty="0">
              <a:solidFill>
                <a:srgbClr val="00B0F0"/>
              </a:solidFill>
              <a:latin typeface="Segoe UI"/>
              <a:ea typeface="Segoe UI" pitchFamily="34" charset="0"/>
              <a:cs typeface="Segoe UI" pitchFamily="34" charset="0"/>
            </a:endParaRPr>
          </a:p>
          <a:p>
            <a:pPr algn="ctr" defTabSz="914102" fontAlgn="base">
              <a:spcBef>
                <a:spcPts val="588"/>
              </a:spcBef>
              <a:spcAft>
                <a:spcPct val="0"/>
              </a:spcAft>
            </a:pPr>
            <a:br>
              <a:rPr lang="en-IN" sz="1568" dirty="0">
                <a:solidFill>
                  <a:srgbClr val="00B0F0"/>
                </a:solidFill>
                <a:latin typeface="Segoe UI"/>
                <a:ea typeface="Segoe UI" pitchFamily="34" charset="0"/>
                <a:cs typeface="Segoe UI" pitchFamily="34" charset="0"/>
              </a:rPr>
            </a:br>
            <a:r>
              <a:rPr lang="en-IN" sz="1568" dirty="0">
                <a:solidFill>
                  <a:srgbClr val="00B0F0"/>
                </a:solidFill>
                <a:latin typeface="Segoe UI"/>
                <a:ea typeface="Segoe UI" pitchFamily="34" charset="0"/>
                <a:cs typeface="Segoe UI" pitchFamily="34" charset="0"/>
              </a:rPr>
              <a:t>What will happen next? </a:t>
            </a:r>
          </a:p>
        </p:txBody>
      </p:sp>
      <p:sp>
        <p:nvSpPr>
          <p:cNvPr id="55" name="Rectangle 54"/>
          <p:cNvSpPr/>
          <p:nvPr/>
        </p:nvSpPr>
        <p:spPr bwMode="auto">
          <a:xfrm>
            <a:off x="2059549" y="2717832"/>
            <a:ext cx="1434280" cy="2667263"/>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algn="ctr" defTabSz="914367"/>
            <a:r>
              <a:rPr lang="en-US" sz="1568" dirty="0">
                <a:solidFill>
                  <a:srgbClr val="FFFFFF"/>
                </a:solidFill>
                <a:latin typeface="Segoe UI"/>
              </a:rPr>
              <a:t> Hotmail launches </a:t>
            </a:r>
          </a:p>
          <a:p>
            <a:pPr algn="ctr" defTabSz="914367"/>
            <a:endParaRPr lang="en-US" sz="1568" dirty="0">
              <a:solidFill>
                <a:srgbClr val="FFFFFF"/>
              </a:solidFill>
              <a:latin typeface="Segoe UI"/>
            </a:endParaRPr>
          </a:p>
          <a:p>
            <a:pPr algn="ctr" defTabSz="914367"/>
            <a:endParaRPr lang="en-US" sz="1568" dirty="0">
              <a:solidFill>
                <a:srgbClr val="FFFFFF"/>
              </a:solidFill>
              <a:latin typeface="Segoe UI"/>
            </a:endParaRPr>
          </a:p>
          <a:p>
            <a:pPr algn="ctr" defTabSz="914367"/>
            <a:endParaRPr lang="en-US" sz="1568" dirty="0">
              <a:solidFill>
                <a:srgbClr val="00B0F0"/>
              </a:solidFill>
              <a:latin typeface="Segoe UI"/>
            </a:endParaRPr>
          </a:p>
          <a:p>
            <a:pPr algn="ctr" defTabSz="914367"/>
            <a:r>
              <a:rPr lang="en-US" sz="1568" dirty="0">
                <a:solidFill>
                  <a:srgbClr val="00B0F0"/>
                </a:solidFill>
                <a:latin typeface="Segoe UI"/>
              </a:rPr>
              <a:t>Which email is junk? </a:t>
            </a:r>
          </a:p>
        </p:txBody>
      </p:sp>
      <p:sp>
        <p:nvSpPr>
          <p:cNvPr id="56" name="Rectangle 55"/>
          <p:cNvSpPr/>
          <p:nvPr/>
        </p:nvSpPr>
        <p:spPr bwMode="auto">
          <a:xfrm>
            <a:off x="5364496" y="2717833"/>
            <a:ext cx="1434280" cy="2626995"/>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algn="ctr" defTabSz="914102" fontAlgn="base">
              <a:spcBef>
                <a:spcPts val="588"/>
              </a:spcBef>
              <a:spcAft>
                <a:spcPct val="0"/>
              </a:spcAft>
            </a:pPr>
            <a:r>
              <a:rPr lang="en-IN" sz="1568" dirty="0">
                <a:solidFill>
                  <a:srgbClr val="FFFFFF"/>
                </a:solidFill>
                <a:latin typeface="Segoe UI"/>
                <a:ea typeface="Segoe UI" pitchFamily="34" charset="0"/>
                <a:cs typeface="Segoe UI" pitchFamily="34" charset="0"/>
              </a:rPr>
              <a:t>Bing search launches</a:t>
            </a:r>
          </a:p>
          <a:p>
            <a:pPr algn="ctr" defTabSz="914102" fontAlgn="base">
              <a:spcBef>
                <a:spcPts val="588"/>
              </a:spcBef>
              <a:spcAft>
                <a:spcPct val="0"/>
              </a:spcAft>
            </a:pPr>
            <a:br>
              <a:rPr lang="en-IN" sz="1568" dirty="0">
                <a:solidFill>
                  <a:srgbClr val="FFFFFF"/>
                </a:solidFill>
                <a:latin typeface="Segoe UI"/>
                <a:ea typeface="Segoe UI" pitchFamily="34" charset="0"/>
                <a:cs typeface="Segoe UI" pitchFamily="34" charset="0"/>
              </a:rPr>
            </a:br>
            <a:endParaRPr lang="en-IN" sz="1568" dirty="0">
              <a:solidFill>
                <a:srgbClr val="FFFFFF"/>
              </a:solidFill>
              <a:latin typeface="Segoe UI"/>
              <a:ea typeface="Segoe UI" pitchFamily="34" charset="0"/>
              <a:cs typeface="Segoe UI" pitchFamily="34" charset="0"/>
            </a:endParaRPr>
          </a:p>
          <a:p>
            <a:pPr algn="ctr" defTabSz="914102" fontAlgn="base">
              <a:spcBef>
                <a:spcPts val="588"/>
              </a:spcBef>
              <a:spcAft>
                <a:spcPct val="0"/>
              </a:spcAft>
            </a:pPr>
            <a:r>
              <a:rPr lang="en-IN" sz="1568" dirty="0">
                <a:solidFill>
                  <a:srgbClr val="00B0F0"/>
                </a:solidFill>
                <a:latin typeface="Segoe UI"/>
                <a:ea typeface="Segoe UI" pitchFamily="34" charset="0"/>
                <a:cs typeface="Segoe UI" pitchFamily="34" charset="0"/>
              </a:rPr>
              <a:t>Which searches are most relevant? </a:t>
            </a:r>
          </a:p>
        </p:txBody>
      </p:sp>
      <p:sp>
        <p:nvSpPr>
          <p:cNvPr id="57" name="Rectangle 56"/>
          <p:cNvSpPr/>
          <p:nvPr/>
        </p:nvSpPr>
        <p:spPr bwMode="auto">
          <a:xfrm>
            <a:off x="8669443" y="2717832"/>
            <a:ext cx="1434280" cy="2667262"/>
          </a:xfrm>
          <a:prstGeom prst="rect">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 tIns="71714" rIns="44821" bIns="44821" numCol="1" spcCol="0" rtlCol="0" fromWordArt="0" anchor="t" anchorCtr="0" forceAA="0" compatLnSpc="1">
            <a:prstTxWarp prst="textNoShape">
              <a:avLst/>
            </a:prstTxWarp>
            <a:noAutofit/>
          </a:bodyPr>
          <a:lstStyle/>
          <a:p>
            <a:pPr algn="ctr" defTabSz="914102" fontAlgn="base">
              <a:spcBef>
                <a:spcPts val="588"/>
              </a:spcBef>
              <a:spcAft>
                <a:spcPct val="0"/>
              </a:spcAft>
            </a:pPr>
            <a:r>
              <a:rPr lang="en-IN" sz="1568" dirty="0">
                <a:solidFill>
                  <a:srgbClr val="FFFFFF"/>
                </a:solidFill>
                <a:latin typeface="Segoe UI"/>
                <a:ea typeface="Segoe UI" pitchFamily="34" charset="0"/>
                <a:cs typeface="Segoe UI" pitchFamily="34" charset="0"/>
              </a:rPr>
              <a:t>Skype Translator launches</a:t>
            </a:r>
          </a:p>
          <a:p>
            <a:pPr algn="ctr" defTabSz="914102" fontAlgn="base">
              <a:spcBef>
                <a:spcPts val="588"/>
              </a:spcBef>
              <a:spcAft>
                <a:spcPct val="0"/>
              </a:spcAft>
            </a:pPr>
            <a:endParaRPr lang="en-IN" sz="1568" dirty="0">
              <a:solidFill>
                <a:srgbClr val="00B0F0"/>
              </a:solidFill>
              <a:latin typeface="Segoe UI"/>
              <a:ea typeface="Segoe UI" pitchFamily="34" charset="0"/>
              <a:cs typeface="Segoe UI" pitchFamily="34" charset="0"/>
            </a:endParaRPr>
          </a:p>
          <a:p>
            <a:pPr algn="ctr" defTabSz="914102" fontAlgn="base">
              <a:spcBef>
                <a:spcPts val="588"/>
              </a:spcBef>
              <a:spcAft>
                <a:spcPct val="0"/>
              </a:spcAft>
            </a:pPr>
            <a:r>
              <a:rPr lang="en-IN" sz="1568" dirty="0">
                <a:solidFill>
                  <a:srgbClr val="00B0F0"/>
                </a:solidFill>
                <a:latin typeface="Segoe UI"/>
                <a:ea typeface="Segoe UI" pitchFamily="34" charset="0"/>
                <a:cs typeface="Segoe UI" pitchFamily="34" charset="0"/>
              </a:rPr>
              <a:t>What is that person saying?</a:t>
            </a:r>
          </a:p>
        </p:txBody>
      </p:sp>
      <p:sp>
        <p:nvSpPr>
          <p:cNvPr id="98" name="Title 2"/>
          <p:cNvSpPr txBox="1">
            <a:spLocks/>
          </p:cNvSpPr>
          <p:nvPr/>
        </p:nvSpPr>
        <p:spPr>
          <a:xfrm>
            <a:off x="536923" y="291515"/>
            <a:ext cx="11655078" cy="899537"/>
          </a:xfrm>
          <a:prstGeom prst="rect">
            <a:avLst/>
          </a:prstGeom>
        </p:spPr>
        <p:txBody>
          <a:bodyPr vert="horz" lIns="89642" tIns="44821" rIns="89642" bIns="44821" rtlCol="0" anchor="t">
            <a:noAutofit/>
          </a:bodyPr>
          <a:lstStyle>
            <a:lvl1pPr algn="l" defTabSz="932597" rtl="0" eaLnBrk="1" latinLnBrk="0" hangingPunct="1">
              <a:lnSpc>
                <a:spcPct val="90000"/>
              </a:lnSpc>
              <a:spcBef>
                <a:spcPct val="0"/>
              </a:spcBef>
              <a:buNone/>
              <a:defRPr sz="5507" kern="1200">
                <a:solidFill>
                  <a:schemeClr val="bg1"/>
                </a:solidFill>
                <a:latin typeface="+mj-lt"/>
                <a:ea typeface="+mj-ea"/>
                <a:cs typeface="+mj-cs"/>
              </a:defRPr>
            </a:lvl1pPr>
          </a:lstStyle>
          <a:p>
            <a:pPr defTabSz="914225"/>
            <a:r>
              <a:rPr lang="en-IN" sz="5294" dirty="0">
                <a:solidFill>
                  <a:srgbClr val="FFFFFF"/>
                </a:solidFill>
                <a:latin typeface="Segoe UI Light"/>
              </a:rPr>
              <a:t>Microsoft &amp; Machine Learning</a:t>
            </a:r>
            <a:br>
              <a:rPr lang="en-IN" sz="5294" dirty="0">
                <a:solidFill>
                  <a:srgbClr val="FFFFFF"/>
                </a:solidFill>
                <a:latin typeface="Segoe UI Light"/>
              </a:rPr>
            </a:br>
            <a:r>
              <a:rPr lang="en-IN" sz="3529" dirty="0">
                <a:solidFill>
                  <a:srgbClr val="FFFFFF"/>
                </a:solidFill>
                <a:latin typeface="Segoe UI Light"/>
              </a:rPr>
              <a:t>Answering questions with experience</a:t>
            </a:r>
          </a:p>
        </p:txBody>
      </p:sp>
      <p:sp>
        <p:nvSpPr>
          <p:cNvPr id="50" name="Rectangle 49"/>
          <p:cNvSpPr/>
          <p:nvPr/>
        </p:nvSpPr>
        <p:spPr bwMode="auto">
          <a:xfrm>
            <a:off x="1110768" y="2355589"/>
            <a:ext cx="26893" cy="41599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dirty="0">
              <a:solidFill>
                <a:srgbClr val="FFFFFF"/>
              </a:solidFill>
              <a:latin typeface="Segoe UI Light"/>
              <a:ea typeface="Segoe UI" pitchFamily="34" charset="0"/>
              <a:cs typeface="Segoe UI" pitchFamily="34" charset="0"/>
            </a:endParaRPr>
          </a:p>
        </p:txBody>
      </p:sp>
      <p:sp>
        <p:nvSpPr>
          <p:cNvPr id="58" name="Oval 57"/>
          <p:cNvSpPr/>
          <p:nvPr/>
        </p:nvSpPr>
        <p:spPr bwMode="auto">
          <a:xfrm>
            <a:off x="1060199" y="2659512"/>
            <a:ext cx="128031" cy="112389"/>
          </a:xfrm>
          <a:prstGeom prst="ellipse">
            <a:avLst/>
          </a:prstGeom>
          <a:solidFill>
            <a:schemeClr val="tx1"/>
          </a:solidFill>
          <a:ln>
            <a:solidFill>
              <a:srgbClr val="00BCF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dirty="0">
              <a:solidFill>
                <a:srgbClr val="FFFFFF"/>
              </a:solidFill>
              <a:latin typeface="Segoe UI Light"/>
              <a:ea typeface="Segoe UI" pitchFamily="34" charset="0"/>
              <a:cs typeface="Segoe UI" pitchFamily="34" charset="0"/>
            </a:endParaRPr>
          </a:p>
        </p:txBody>
      </p:sp>
      <p:sp>
        <p:nvSpPr>
          <p:cNvPr id="59" name="Rectangle 58"/>
          <p:cNvSpPr/>
          <p:nvPr/>
        </p:nvSpPr>
        <p:spPr bwMode="auto">
          <a:xfrm>
            <a:off x="11025608" y="2355589"/>
            <a:ext cx="26893" cy="415990"/>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dirty="0">
              <a:solidFill>
                <a:srgbClr val="FFFFFF"/>
              </a:solidFill>
              <a:latin typeface="Segoe UI Light"/>
              <a:ea typeface="Segoe UI" pitchFamily="34" charset="0"/>
              <a:cs typeface="Segoe UI" pitchFamily="34" charset="0"/>
            </a:endParaRPr>
          </a:p>
        </p:txBody>
      </p:sp>
      <p:sp>
        <p:nvSpPr>
          <p:cNvPr id="60" name="Oval 59"/>
          <p:cNvSpPr/>
          <p:nvPr/>
        </p:nvSpPr>
        <p:spPr bwMode="auto">
          <a:xfrm>
            <a:off x="10975039" y="2659512"/>
            <a:ext cx="128031" cy="112389"/>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dirty="0">
              <a:solidFill>
                <a:srgbClr val="FFFFFF"/>
              </a:solidFill>
              <a:latin typeface="Segoe UI Light"/>
              <a:ea typeface="Segoe UI" pitchFamily="34" charset="0"/>
              <a:cs typeface="Segoe UI" pitchFamily="34" charset="0"/>
            </a:endParaRPr>
          </a:p>
        </p:txBody>
      </p:sp>
      <p:sp>
        <p:nvSpPr>
          <p:cNvPr id="102" name="Rectangle 101"/>
          <p:cNvSpPr/>
          <p:nvPr/>
        </p:nvSpPr>
        <p:spPr bwMode="auto">
          <a:xfrm>
            <a:off x="9373135" y="2355589"/>
            <a:ext cx="26893" cy="41599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dirty="0">
              <a:solidFill>
                <a:srgbClr val="FFFFFF"/>
              </a:solidFill>
              <a:latin typeface="Segoe UI Light"/>
              <a:ea typeface="Segoe UI" pitchFamily="34" charset="0"/>
              <a:cs typeface="Segoe UI" pitchFamily="34" charset="0"/>
            </a:endParaRPr>
          </a:p>
        </p:txBody>
      </p:sp>
      <p:sp>
        <p:nvSpPr>
          <p:cNvPr id="103" name="Oval 102"/>
          <p:cNvSpPr/>
          <p:nvPr/>
        </p:nvSpPr>
        <p:spPr bwMode="auto">
          <a:xfrm>
            <a:off x="9322566" y="2659512"/>
            <a:ext cx="128031" cy="11238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dirty="0">
              <a:solidFill>
                <a:srgbClr val="FFFFFF"/>
              </a:solidFill>
              <a:latin typeface="Segoe UI Light"/>
              <a:ea typeface="Segoe UI" pitchFamily="34" charset="0"/>
              <a:cs typeface="Segoe UI" pitchFamily="34" charset="0"/>
            </a:endParaRPr>
          </a:p>
        </p:txBody>
      </p:sp>
      <p:sp>
        <p:nvSpPr>
          <p:cNvPr id="104" name="Rectangle 103"/>
          <p:cNvSpPr/>
          <p:nvPr/>
        </p:nvSpPr>
        <p:spPr bwMode="auto">
          <a:xfrm>
            <a:off x="7720662" y="2355589"/>
            <a:ext cx="26893" cy="41599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dirty="0">
              <a:solidFill>
                <a:srgbClr val="FFFFFF"/>
              </a:solidFill>
              <a:latin typeface="Segoe UI Light"/>
              <a:ea typeface="Segoe UI" pitchFamily="34" charset="0"/>
              <a:cs typeface="Segoe UI" pitchFamily="34" charset="0"/>
            </a:endParaRPr>
          </a:p>
        </p:txBody>
      </p:sp>
      <p:sp>
        <p:nvSpPr>
          <p:cNvPr id="105" name="Oval 104"/>
          <p:cNvSpPr/>
          <p:nvPr/>
        </p:nvSpPr>
        <p:spPr bwMode="auto">
          <a:xfrm>
            <a:off x="7670093" y="2659512"/>
            <a:ext cx="128031" cy="11238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dirty="0">
              <a:solidFill>
                <a:srgbClr val="FFFFFF"/>
              </a:solidFill>
              <a:latin typeface="Segoe UI Light"/>
              <a:ea typeface="Segoe UI" pitchFamily="34" charset="0"/>
              <a:cs typeface="Segoe UI" pitchFamily="34" charset="0"/>
            </a:endParaRPr>
          </a:p>
        </p:txBody>
      </p:sp>
      <p:sp>
        <p:nvSpPr>
          <p:cNvPr id="106" name="Rectangle 105"/>
          <p:cNvSpPr/>
          <p:nvPr/>
        </p:nvSpPr>
        <p:spPr bwMode="auto">
          <a:xfrm>
            <a:off x="6068189" y="2355589"/>
            <a:ext cx="26893" cy="41599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dirty="0">
              <a:solidFill>
                <a:srgbClr val="FFFFFF"/>
              </a:solidFill>
              <a:latin typeface="Segoe UI Light"/>
              <a:ea typeface="Segoe UI" pitchFamily="34" charset="0"/>
              <a:cs typeface="Segoe UI" pitchFamily="34" charset="0"/>
            </a:endParaRPr>
          </a:p>
        </p:txBody>
      </p:sp>
      <p:sp>
        <p:nvSpPr>
          <p:cNvPr id="107" name="Oval 106"/>
          <p:cNvSpPr/>
          <p:nvPr/>
        </p:nvSpPr>
        <p:spPr bwMode="auto">
          <a:xfrm>
            <a:off x="6017620" y="2659512"/>
            <a:ext cx="128031" cy="11238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dirty="0">
              <a:solidFill>
                <a:srgbClr val="FFFFFF"/>
              </a:solidFill>
              <a:latin typeface="Segoe UI Light"/>
              <a:ea typeface="Segoe UI" pitchFamily="34" charset="0"/>
              <a:cs typeface="Segoe UI" pitchFamily="34" charset="0"/>
            </a:endParaRPr>
          </a:p>
        </p:txBody>
      </p:sp>
      <p:sp>
        <p:nvSpPr>
          <p:cNvPr id="108" name="Rectangle 107"/>
          <p:cNvSpPr/>
          <p:nvPr/>
        </p:nvSpPr>
        <p:spPr bwMode="auto">
          <a:xfrm>
            <a:off x="4415715" y="2355589"/>
            <a:ext cx="26893" cy="41599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dirty="0">
              <a:solidFill>
                <a:srgbClr val="FFFFFF"/>
              </a:solidFill>
              <a:latin typeface="Segoe UI Light"/>
              <a:ea typeface="Segoe UI" pitchFamily="34" charset="0"/>
              <a:cs typeface="Segoe UI" pitchFamily="34" charset="0"/>
            </a:endParaRPr>
          </a:p>
        </p:txBody>
      </p:sp>
      <p:sp>
        <p:nvSpPr>
          <p:cNvPr id="109" name="Oval 108"/>
          <p:cNvSpPr/>
          <p:nvPr/>
        </p:nvSpPr>
        <p:spPr bwMode="auto">
          <a:xfrm>
            <a:off x="4365146" y="2659512"/>
            <a:ext cx="128031" cy="11238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dirty="0">
              <a:solidFill>
                <a:srgbClr val="FFFFFF"/>
              </a:solidFill>
              <a:latin typeface="Segoe UI Light"/>
              <a:ea typeface="Segoe UI" pitchFamily="34" charset="0"/>
              <a:cs typeface="Segoe UI" pitchFamily="34" charset="0"/>
            </a:endParaRPr>
          </a:p>
        </p:txBody>
      </p:sp>
      <p:sp>
        <p:nvSpPr>
          <p:cNvPr id="110" name="Rectangle 109"/>
          <p:cNvSpPr/>
          <p:nvPr/>
        </p:nvSpPr>
        <p:spPr bwMode="auto">
          <a:xfrm>
            <a:off x="2763242" y="2355589"/>
            <a:ext cx="26893" cy="41599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dirty="0">
              <a:solidFill>
                <a:srgbClr val="FFFFFF"/>
              </a:solidFill>
              <a:latin typeface="Segoe UI Light"/>
              <a:ea typeface="Segoe UI" pitchFamily="34" charset="0"/>
              <a:cs typeface="Segoe UI" pitchFamily="34" charset="0"/>
            </a:endParaRPr>
          </a:p>
        </p:txBody>
      </p:sp>
      <p:sp>
        <p:nvSpPr>
          <p:cNvPr id="111" name="Oval 110"/>
          <p:cNvSpPr/>
          <p:nvPr/>
        </p:nvSpPr>
        <p:spPr bwMode="auto">
          <a:xfrm>
            <a:off x="2712673" y="2659512"/>
            <a:ext cx="128031" cy="112389"/>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ts val="588"/>
              </a:spcBef>
              <a:spcAft>
                <a:spcPct val="0"/>
              </a:spcAft>
            </a:pPr>
            <a:endParaRPr lang="en-IN" sz="2745" dirty="0">
              <a:solidFill>
                <a:srgbClr val="FFFFFF"/>
              </a:solidFill>
              <a:latin typeface="Segoe UI Light"/>
              <a:ea typeface="Segoe UI" pitchFamily="34" charset="0"/>
              <a:cs typeface="Segoe UI" pitchFamily="34" charset="0"/>
            </a:endParaRPr>
          </a:p>
        </p:txBody>
      </p:sp>
      <p:sp>
        <p:nvSpPr>
          <p:cNvPr id="112" name="Right Arrow 111"/>
          <p:cNvSpPr/>
          <p:nvPr/>
        </p:nvSpPr>
        <p:spPr bwMode="auto">
          <a:xfrm>
            <a:off x="-12805" y="2035723"/>
            <a:ext cx="12084888" cy="319867"/>
          </a:xfrm>
          <a:prstGeom prst="rightArrow">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ln>
                <a:solidFill>
                  <a:srgbClr val="FFFFFF">
                    <a:alpha val="0"/>
                  </a:srgbClr>
                </a:solidFill>
              </a:ln>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Rectangle 112"/>
          <p:cNvSpPr/>
          <p:nvPr/>
        </p:nvSpPr>
        <p:spPr bwMode="auto">
          <a:xfrm>
            <a:off x="587355" y="2007256"/>
            <a:ext cx="1073721" cy="3585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2353" dirty="0">
                <a:solidFill>
                  <a:srgbClr val="FFFFFF"/>
                </a:solidFill>
                <a:latin typeface="Segoe UI Light"/>
                <a:ea typeface="Segoe UI" pitchFamily="34" charset="0"/>
                <a:cs typeface="Segoe UI" pitchFamily="34" charset="0"/>
              </a:rPr>
              <a:t>1991</a:t>
            </a:r>
          </a:p>
        </p:txBody>
      </p:sp>
      <p:sp>
        <p:nvSpPr>
          <p:cNvPr id="114" name="Rectangle 113"/>
          <p:cNvSpPr/>
          <p:nvPr/>
        </p:nvSpPr>
        <p:spPr bwMode="auto">
          <a:xfrm>
            <a:off x="8849722" y="2007256"/>
            <a:ext cx="1073721" cy="3585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2353" dirty="0">
                <a:solidFill>
                  <a:srgbClr val="FFFFFF"/>
                </a:solidFill>
                <a:latin typeface="Segoe UI Light"/>
                <a:ea typeface="Segoe UI" pitchFamily="34" charset="0"/>
                <a:cs typeface="Segoe UI" pitchFamily="34" charset="0"/>
              </a:rPr>
              <a:t>2014</a:t>
            </a:r>
          </a:p>
        </p:txBody>
      </p:sp>
      <p:sp>
        <p:nvSpPr>
          <p:cNvPr id="115" name="Rectangle 114"/>
          <p:cNvSpPr/>
          <p:nvPr/>
        </p:nvSpPr>
        <p:spPr bwMode="auto">
          <a:xfrm>
            <a:off x="5544776" y="2007256"/>
            <a:ext cx="1073721" cy="3585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2353" dirty="0">
                <a:solidFill>
                  <a:srgbClr val="FFFFFF"/>
                </a:solidFill>
                <a:latin typeface="Segoe UI Light"/>
                <a:ea typeface="Segoe UI" pitchFamily="34" charset="0"/>
                <a:cs typeface="Segoe UI" pitchFamily="34" charset="0"/>
              </a:rPr>
              <a:t>2009</a:t>
            </a:r>
          </a:p>
        </p:txBody>
      </p:sp>
      <p:sp>
        <p:nvSpPr>
          <p:cNvPr id="116" name="Rectangle 115"/>
          <p:cNvSpPr/>
          <p:nvPr/>
        </p:nvSpPr>
        <p:spPr bwMode="auto">
          <a:xfrm>
            <a:off x="2239829" y="2007256"/>
            <a:ext cx="1073721" cy="3585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2353" dirty="0">
                <a:solidFill>
                  <a:srgbClr val="FFFFFF"/>
                </a:solidFill>
                <a:latin typeface="Segoe UI Light"/>
                <a:ea typeface="Segoe UI" pitchFamily="34" charset="0"/>
                <a:cs typeface="Segoe UI" pitchFamily="34" charset="0"/>
              </a:rPr>
              <a:t>1997</a:t>
            </a:r>
          </a:p>
        </p:txBody>
      </p:sp>
      <p:sp>
        <p:nvSpPr>
          <p:cNvPr id="117" name="Rectangle 116"/>
          <p:cNvSpPr/>
          <p:nvPr/>
        </p:nvSpPr>
        <p:spPr bwMode="auto">
          <a:xfrm>
            <a:off x="10502195" y="2007256"/>
            <a:ext cx="1073721" cy="358570"/>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2353" dirty="0">
                <a:solidFill>
                  <a:srgbClr val="FFFFFF"/>
                </a:solidFill>
                <a:latin typeface="Segoe UI Light"/>
                <a:ea typeface="Segoe UI" pitchFamily="34" charset="0"/>
                <a:cs typeface="Segoe UI" pitchFamily="34" charset="0"/>
              </a:rPr>
              <a:t>2015</a:t>
            </a:r>
          </a:p>
        </p:txBody>
      </p:sp>
      <p:sp>
        <p:nvSpPr>
          <p:cNvPr id="118" name="Rectangle 117"/>
          <p:cNvSpPr/>
          <p:nvPr/>
        </p:nvSpPr>
        <p:spPr bwMode="auto">
          <a:xfrm>
            <a:off x="7197249" y="2007256"/>
            <a:ext cx="1073721" cy="3585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2353" dirty="0">
                <a:solidFill>
                  <a:srgbClr val="FFFFFF"/>
                </a:solidFill>
                <a:latin typeface="Segoe UI Light"/>
                <a:ea typeface="Segoe UI" pitchFamily="34" charset="0"/>
                <a:cs typeface="Segoe UI" pitchFamily="34" charset="0"/>
              </a:rPr>
              <a:t>2010</a:t>
            </a:r>
          </a:p>
        </p:txBody>
      </p:sp>
      <p:sp>
        <p:nvSpPr>
          <p:cNvPr id="119" name="Rectangle 118"/>
          <p:cNvSpPr/>
          <p:nvPr/>
        </p:nvSpPr>
        <p:spPr bwMode="auto">
          <a:xfrm>
            <a:off x="3892302" y="2007256"/>
            <a:ext cx="1073721" cy="3585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2353" dirty="0">
                <a:solidFill>
                  <a:srgbClr val="FFFFFF"/>
                </a:solidFill>
                <a:latin typeface="Segoe UI Light"/>
                <a:ea typeface="Segoe UI" pitchFamily="34" charset="0"/>
                <a:cs typeface="Segoe UI" pitchFamily="34" charset="0"/>
              </a:rPr>
              <a:t>2008</a:t>
            </a:r>
          </a:p>
        </p:txBody>
      </p:sp>
      <p:sp>
        <p:nvSpPr>
          <p:cNvPr id="2" name="Rectangle 1"/>
          <p:cNvSpPr/>
          <p:nvPr/>
        </p:nvSpPr>
        <p:spPr>
          <a:xfrm>
            <a:off x="0" y="5476861"/>
            <a:ext cx="12192000" cy="1062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561" fontAlgn="base">
              <a:spcBef>
                <a:spcPts val="1176"/>
              </a:spcBef>
              <a:spcAft>
                <a:spcPts val="1176"/>
              </a:spcAft>
            </a:pPr>
            <a:r>
              <a:rPr lang="en-US" sz="2745" i="1" kern="0" dirty="0">
                <a:solidFill>
                  <a:srgbClr val="FFFFFF"/>
                </a:solidFill>
                <a:latin typeface="Segoe UI Light"/>
              </a:rPr>
              <a:t>Machine learning is pervasive throughout Microsoft products.</a:t>
            </a:r>
            <a:endParaRPr lang="en-GB" sz="2745" i="1" kern="0" dirty="0">
              <a:solidFill>
                <a:srgbClr val="FFFFFF"/>
              </a:solidFill>
              <a:latin typeface="Segoe UI Light"/>
            </a:endParaRPr>
          </a:p>
        </p:txBody>
      </p:sp>
    </p:spTree>
    <p:extLst>
      <p:ext uri="{BB962C8B-B14F-4D97-AF65-F5344CB8AC3E}">
        <p14:creationId xmlns:p14="http://schemas.microsoft.com/office/powerpoint/2010/main" val="24218314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can Azure ML do for you…? </a:t>
            </a:r>
          </a:p>
        </p:txBody>
      </p:sp>
      <p:grpSp>
        <p:nvGrpSpPr>
          <p:cNvPr id="14" name="Group 13"/>
          <p:cNvGrpSpPr/>
          <p:nvPr/>
        </p:nvGrpSpPr>
        <p:grpSpPr>
          <a:xfrm>
            <a:off x="6142310" y="1561449"/>
            <a:ext cx="1487328" cy="1487329"/>
            <a:chOff x="6265476" y="1592262"/>
            <a:chExt cx="1517152" cy="1517153"/>
          </a:xfrm>
        </p:grpSpPr>
        <p:sp>
          <p:nvSpPr>
            <p:cNvPr id="62" name="Rectangle 61"/>
            <p:cNvSpPr/>
            <p:nvPr/>
          </p:nvSpPr>
          <p:spPr bwMode="auto">
            <a:xfrm>
              <a:off x="6265476" y="1592262"/>
              <a:ext cx="1517152" cy="151715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b" anchorCtr="0" forceAA="0" compatLnSpc="1">
              <a:prstTxWarp prst="textNoShape">
                <a:avLst/>
              </a:prstTxWarp>
              <a:noAutofit/>
            </a:bodyPr>
            <a:lstStyle/>
            <a:p>
              <a:pPr defTabSz="914102" fontAlgn="base">
                <a:lnSpc>
                  <a:spcPct val="90000"/>
                </a:lnSpc>
                <a:spcBef>
                  <a:spcPct val="0"/>
                </a:spcBef>
                <a:spcAft>
                  <a:spcPct val="0"/>
                </a:spcAft>
              </a:pPr>
              <a:r>
                <a:rPr lang="en-US" sz="1372" kern="0" dirty="0">
                  <a:solidFill>
                    <a:sysClr val="window" lastClr="FFFFFF"/>
                  </a:solidFill>
                  <a:latin typeface="Segoe UI"/>
                  <a:cs typeface="Segoe UI" pitchFamily="34" charset="0"/>
                </a:rPr>
                <a:t>Social network analysis</a:t>
              </a:r>
            </a:p>
          </p:txBody>
        </p:sp>
        <p:sp>
          <p:nvSpPr>
            <p:cNvPr id="107" name="Freeform 133"/>
            <p:cNvSpPr>
              <a:spLocks noChangeAspect="1" noEditPoints="1"/>
            </p:cNvSpPr>
            <p:nvPr/>
          </p:nvSpPr>
          <p:spPr bwMode="black">
            <a:xfrm>
              <a:off x="6708716" y="1886743"/>
              <a:ext cx="630671" cy="631825"/>
            </a:xfrm>
            <a:custGeom>
              <a:avLst/>
              <a:gdLst>
                <a:gd name="T0" fmla="*/ 902 w 1099"/>
                <a:gd name="T1" fmla="*/ 0 h 1099"/>
                <a:gd name="T2" fmla="*/ 197 w 1099"/>
                <a:gd name="T3" fmla="*/ 0 h 1099"/>
                <a:gd name="T4" fmla="*/ 0 w 1099"/>
                <a:gd name="T5" fmla="*/ 197 h 1099"/>
                <a:gd name="T6" fmla="*/ 0 w 1099"/>
                <a:gd name="T7" fmla="*/ 902 h 1099"/>
                <a:gd name="T8" fmla="*/ 197 w 1099"/>
                <a:gd name="T9" fmla="*/ 1099 h 1099"/>
                <a:gd name="T10" fmla="*/ 902 w 1099"/>
                <a:gd name="T11" fmla="*/ 1099 h 1099"/>
                <a:gd name="T12" fmla="*/ 1099 w 1099"/>
                <a:gd name="T13" fmla="*/ 902 h 1099"/>
                <a:gd name="T14" fmla="*/ 1099 w 1099"/>
                <a:gd name="T15" fmla="*/ 197 h 1099"/>
                <a:gd name="T16" fmla="*/ 902 w 1099"/>
                <a:gd name="T17" fmla="*/ 0 h 1099"/>
                <a:gd name="T18" fmla="*/ 932 w 1099"/>
                <a:gd name="T19" fmla="*/ 285 h 1099"/>
                <a:gd name="T20" fmla="*/ 859 w 1099"/>
                <a:gd name="T21" fmla="*/ 285 h 1099"/>
                <a:gd name="T22" fmla="*/ 793 w 1099"/>
                <a:gd name="T23" fmla="*/ 351 h 1099"/>
                <a:gd name="T24" fmla="*/ 793 w 1099"/>
                <a:gd name="T25" fmla="*/ 400 h 1099"/>
                <a:gd name="T26" fmla="*/ 932 w 1099"/>
                <a:gd name="T27" fmla="*/ 400 h 1099"/>
                <a:gd name="T28" fmla="*/ 932 w 1099"/>
                <a:gd name="T29" fmla="*/ 550 h 1099"/>
                <a:gd name="T30" fmla="*/ 793 w 1099"/>
                <a:gd name="T31" fmla="*/ 550 h 1099"/>
                <a:gd name="T32" fmla="*/ 793 w 1099"/>
                <a:gd name="T33" fmla="*/ 1010 h 1099"/>
                <a:gd name="T34" fmla="*/ 596 w 1099"/>
                <a:gd name="T35" fmla="*/ 1010 h 1099"/>
                <a:gd name="T36" fmla="*/ 596 w 1099"/>
                <a:gd name="T37" fmla="*/ 550 h 1099"/>
                <a:gd name="T38" fmla="*/ 470 w 1099"/>
                <a:gd name="T39" fmla="*/ 550 h 1099"/>
                <a:gd name="T40" fmla="*/ 470 w 1099"/>
                <a:gd name="T41" fmla="*/ 400 h 1099"/>
                <a:gd name="T42" fmla="*/ 596 w 1099"/>
                <a:gd name="T43" fmla="*/ 400 h 1099"/>
                <a:gd name="T44" fmla="*/ 596 w 1099"/>
                <a:gd name="T45" fmla="*/ 311 h 1099"/>
                <a:gd name="T46" fmla="*/ 772 w 1099"/>
                <a:gd name="T47" fmla="*/ 135 h 1099"/>
                <a:gd name="T48" fmla="*/ 932 w 1099"/>
                <a:gd name="T49" fmla="*/ 135 h 1099"/>
                <a:gd name="T50" fmla="*/ 932 w 1099"/>
                <a:gd name="T51" fmla="*/ 285 h 1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99" h="1099">
                  <a:moveTo>
                    <a:pt x="902" y="0"/>
                  </a:moveTo>
                  <a:cubicBezTo>
                    <a:pt x="197" y="0"/>
                    <a:pt x="197" y="0"/>
                    <a:pt x="197" y="0"/>
                  </a:cubicBezTo>
                  <a:cubicBezTo>
                    <a:pt x="88" y="0"/>
                    <a:pt x="0" y="88"/>
                    <a:pt x="0" y="197"/>
                  </a:cubicBezTo>
                  <a:cubicBezTo>
                    <a:pt x="0" y="902"/>
                    <a:pt x="0" y="902"/>
                    <a:pt x="0" y="902"/>
                  </a:cubicBezTo>
                  <a:cubicBezTo>
                    <a:pt x="0" y="1010"/>
                    <a:pt x="88" y="1099"/>
                    <a:pt x="197" y="1099"/>
                  </a:cubicBezTo>
                  <a:cubicBezTo>
                    <a:pt x="902" y="1099"/>
                    <a:pt x="902" y="1099"/>
                    <a:pt x="902" y="1099"/>
                  </a:cubicBezTo>
                  <a:cubicBezTo>
                    <a:pt x="1010" y="1099"/>
                    <a:pt x="1099" y="1010"/>
                    <a:pt x="1099" y="902"/>
                  </a:cubicBezTo>
                  <a:cubicBezTo>
                    <a:pt x="1099" y="197"/>
                    <a:pt x="1099" y="197"/>
                    <a:pt x="1099" y="197"/>
                  </a:cubicBezTo>
                  <a:cubicBezTo>
                    <a:pt x="1099" y="88"/>
                    <a:pt x="1010" y="0"/>
                    <a:pt x="902" y="0"/>
                  </a:cubicBezTo>
                  <a:close/>
                  <a:moveTo>
                    <a:pt x="932" y="285"/>
                  </a:moveTo>
                  <a:cubicBezTo>
                    <a:pt x="932" y="285"/>
                    <a:pt x="932" y="285"/>
                    <a:pt x="859" y="285"/>
                  </a:cubicBezTo>
                  <a:cubicBezTo>
                    <a:pt x="822" y="285"/>
                    <a:pt x="793" y="314"/>
                    <a:pt x="793" y="351"/>
                  </a:cubicBezTo>
                  <a:cubicBezTo>
                    <a:pt x="793" y="351"/>
                    <a:pt x="793" y="351"/>
                    <a:pt x="793" y="400"/>
                  </a:cubicBezTo>
                  <a:cubicBezTo>
                    <a:pt x="793" y="400"/>
                    <a:pt x="793" y="400"/>
                    <a:pt x="932" y="400"/>
                  </a:cubicBezTo>
                  <a:cubicBezTo>
                    <a:pt x="932" y="400"/>
                    <a:pt x="932" y="400"/>
                    <a:pt x="932" y="550"/>
                  </a:cubicBezTo>
                  <a:cubicBezTo>
                    <a:pt x="932" y="550"/>
                    <a:pt x="932" y="550"/>
                    <a:pt x="793" y="550"/>
                  </a:cubicBezTo>
                  <a:cubicBezTo>
                    <a:pt x="793" y="550"/>
                    <a:pt x="793" y="550"/>
                    <a:pt x="793" y="1010"/>
                  </a:cubicBezTo>
                  <a:cubicBezTo>
                    <a:pt x="793" y="1010"/>
                    <a:pt x="793" y="1010"/>
                    <a:pt x="596" y="1010"/>
                  </a:cubicBezTo>
                  <a:cubicBezTo>
                    <a:pt x="596" y="1010"/>
                    <a:pt x="596" y="1010"/>
                    <a:pt x="596" y="550"/>
                  </a:cubicBezTo>
                  <a:cubicBezTo>
                    <a:pt x="596" y="550"/>
                    <a:pt x="596" y="550"/>
                    <a:pt x="470" y="550"/>
                  </a:cubicBezTo>
                  <a:cubicBezTo>
                    <a:pt x="470" y="550"/>
                    <a:pt x="470" y="550"/>
                    <a:pt x="470" y="400"/>
                  </a:cubicBezTo>
                  <a:cubicBezTo>
                    <a:pt x="470" y="400"/>
                    <a:pt x="470" y="400"/>
                    <a:pt x="596" y="400"/>
                  </a:cubicBezTo>
                  <a:cubicBezTo>
                    <a:pt x="596" y="400"/>
                    <a:pt x="596" y="400"/>
                    <a:pt x="596" y="311"/>
                  </a:cubicBezTo>
                  <a:cubicBezTo>
                    <a:pt x="596" y="214"/>
                    <a:pt x="675" y="135"/>
                    <a:pt x="772" y="135"/>
                  </a:cubicBezTo>
                  <a:cubicBezTo>
                    <a:pt x="772" y="135"/>
                    <a:pt x="772" y="135"/>
                    <a:pt x="932" y="135"/>
                  </a:cubicBezTo>
                  <a:cubicBezTo>
                    <a:pt x="932" y="135"/>
                    <a:pt x="932" y="135"/>
                    <a:pt x="932" y="28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dirty="0">
                <a:solidFill>
                  <a:srgbClr val="00B0F0"/>
                </a:solidFill>
                <a:latin typeface="Segoe UI"/>
              </a:endParaRPr>
            </a:p>
          </p:txBody>
        </p:sp>
      </p:grpSp>
      <p:grpSp>
        <p:nvGrpSpPr>
          <p:cNvPr id="20" name="Group 19"/>
          <p:cNvGrpSpPr/>
          <p:nvPr/>
        </p:nvGrpSpPr>
        <p:grpSpPr>
          <a:xfrm>
            <a:off x="6142310" y="3130192"/>
            <a:ext cx="1487328" cy="1487329"/>
            <a:chOff x="6265476" y="3192462"/>
            <a:chExt cx="1517152" cy="1517153"/>
          </a:xfrm>
        </p:grpSpPr>
        <p:sp>
          <p:nvSpPr>
            <p:cNvPr id="90" name="Rectangle 89"/>
            <p:cNvSpPr/>
            <p:nvPr/>
          </p:nvSpPr>
          <p:spPr bwMode="auto">
            <a:xfrm>
              <a:off x="6265476" y="3192462"/>
              <a:ext cx="1517152" cy="151715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b" anchorCtr="0" forceAA="0" compatLnSpc="1">
              <a:prstTxWarp prst="textNoShape">
                <a:avLst/>
              </a:prstTxWarp>
              <a:noAutofit/>
            </a:bodyPr>
            <a:lstStyle/>
            <a:p>
              <a:pPr defTabSz="914102" fontAlgn="base">
                <a:lnSpc>
                  <a:spcPct val="90000"/>
                </a:lnSpc>
                <a:spcBef>
                  <a:spcPct val="0"/>
                </a:spcBef>
                <a:spcAft>
                  <a:spcPct val="0"/>
                </a:spcAft>
              </a:pPr>
              <a:r>
                <a:rPr lang="en-US" sz="1372" kern="0" dirty="0">
                  <a:solidFill>
                    <a:sysClr val="window" lastClr="FFFFFF"/>
                  </a:solidFill>
                  <a:latin typeface="Segoe UI"/>
                  <a:cs typeface="Segoe UI" pitchFamily="34" charset="0"/>
                </a:rPr>
                <a:t>Weather forecasting</a:t>
              </a:r>
            </a:p>
          </p:txBody>
        </p:sp>
        <p:grpSp>
          <p:nvGrpSpPr>
            <p:cNvPr id="108" name="Group 107"/>
            <p:cNvGrpSpPr>
              <a:grpSpLocks noChangeAspect="1"/>
            </p:cNvGrpSpPr>
            <p:nvPr/>
          </p:nvGrpSpPr>
          <p:grpSpPr>
            <a:xfrm>
              <a:off x="6610429" y="3403896"/>
              <a:ext cx="819863" cy="693196"/>
              <a:chOff x="-88900" y="4770438"/>
              <a:chExt cx="1500188" cy="1268412"/>
            </a:xfrm>
            <a:solidFill>
              <a:schemeClr val="bg1"/>
            </a:solidFill>
          </p:grpSpPr>
          <p:sp>
            <p:nvSpPr>
              <p:cNvPr id="109" name="Freeform 73"/>
              <p:cNvSpPr>
                <a:spLocks noEditPoints="1"/>
              </p:cNvSpPr>
              <p:nvPr/>
            </p:nvSpPr>
            <p:spPr bwMode="auto">
              <a:xfrm>
                <a:off x="-88900" y="4770438"/>
                <a:ext cx="1500188" cy="828675"/>
              </a:xfrm>
              <a:custGeom>
                <a:avLst/>
                <a:gdLst>
                  <a:gd name="T0" fmla="*/ 312 w 400"/>
                  <a:gd name="T1" fmla="*/ 221 h 221"/>
                  <a:gd name="T2" fmla="*/ 45 w 400"/>
                  <a:gd name="T3" fmla="*/ 221 h 221"/>
                  <a:gd name="T4" fmla="*/ 0 w 400"/>
                  <a:gd name="T5" fmla="*/ 176 h 221"/>
                  <a:gd name="T6" fmla="*/ 34 w 400"/>
                  <a:gd name="T7" fmla="*/ 132 h 221"/>
                  <a:gd name="T8" fmla="*/ 87 w 400"/>
                  <a:gd name="T9" fmla="*/ 92 h 221"/>
                  <a:gd name="T10" fmla="*/ 183 w 400"/>
                  <a:gd name="T11" fmla="*/ 0 h 221"/>
                  <a:gd name="T12" fmla="*/ 270 w 400"/>
                  <a:gd name="T13" fmla="*/ 55 h 221"/>
                  <a:gd name="T14" fmla="*/ 312 w 400"/>
                  <a:gd name="T15" fmla="*/ 44 h 221"/>
                  <a:gd name="T16" fmla="*/ 400 w 400"/>
                  <a:gd name="T17" fmla="*/ 133 h 221"/>
                  <a:gd name="T18" fmla="*/ 312 w 400"/>
                  <a:gd name="T19" fmla="*/ 221 h 221"/>
                  <a:gd name="T20" fmla="*/ 45 w 400"/>
                  <a:gd name="T21" fmla="*/ 162 h 221"/>
                  <a:gd name="T22" fmla="*/ 31 w 400"/>
                  <a:gd name="T23" fmla="*/ 176 h 221"/>
                  <a:gd name="T24" fmla="*/ 45 w 400"/>
                  <a:gd name="T25" fmla="*/ 190 h 221"/>
                  <a:gd name="T26" fmla="*/ 312 w 400"/>
                  <a:gd name="T27" fmla="*/ 190 h 221"/>
                  <a:gd name="T28" fmla="*/ 369 w 400"/>
                  <a:gd name="T29" fmla="*/ 133 h 221"/>
                  <a:gd name="T30" fmla="*/ 312 w 400"/>
                  <a:gd name="T31" fmla="*/ 76 h 221"/>
                  <a:gd name="T32" fmla="*/ 272 w 400"/>
                  <a:gd name="T33" fmla="*/ 91 h 221"/>
                  <a:gd name="T34" fmla="*/ 252 w 400"/>
                  <a:gd name="T35" fmla="*/ 111 h 221"/>
                  <a:gd name="T36" fmla="*/ 246 w 400"/>
                  <a:gd name="T37" fmla="*/ 83 h 221"/>
                  <a:gd name="T38" fmla="*/ 183 w 400"/>
                  <a:gd name="T39" fmla="*/ 31 h 221"/>
                  <a:gd name="T40" fmla="*/ 118 w 400"/>
                  <a:gd name="T41" fmla="*/ 96 h 221"/>
                  <a:gd name="T42" fmla="*/ 118 w 400"/>
                  <a:gd name="T43" fmla="*/ 105 h 221"/>
                  <a:gd name="T44" fmla="*/ 121 w 400"/>
                  <a:gd name="T45" fmla="*/ 126 h 221"/>
                  <a:gd name="T46" fmla="*/ 100 w 400"/>
                  <a:gd name="T47" fmla="*/ 123 h 221"/>
                  <a:gd name="T48" fmla="*/ 94 w 400"/>
                  <a:gd name="T49" fmla="*/ 122 h 221"/>
                  <a:gd name="T50" fmla="*/ 61 w 400"/>
                  <a:gd name="T51" fmla="*/ 149 h 221"/>
                  <a:gd name="T52" fmla="*/ 59 w 400"/>
                  <a:gd name="T53" fmla="*/ 162 h 221"/>
                  <a:gd name="T54" fmla="*/ 46 w 400"/>
                  <a:gd name="T55" fmla="*/ 162 h 221"/>
                  <a:gd name="T56" fmla="*/ 45 w 400"/>
                  <a:gd name="T57" fmla="*/ 16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21">
                    <a:moveTo>
                      <a:pt x="312" y="221"/>
                    </a:moveTo>
                    <a:cubicBezTo>
                      <a:pt x="45" y="221"/>
                      <a:pt x="45" y="221"/>
                      <a:pt x="45" y="221"/>
                    </a:cubicBezTo>
                    <a:cubicBezTo>
                      <a:pt x="20" y="221"/>
                      <a:pt x="0" y="201"/>
                      <a:pt x="0" y="176"/>
                    </a:cubicBezTo>
                    <a:cubicBezTo>
                      <a:pt x="0" y="155"/>
                      <a:pt x="15" y="137"/>
                      <a:pt x="34" y="132"/>
                    </a:cubicBezTo>
                    <a:cubicBezTo>
                      <a:pt x="43" y="110"/>
                      <a:pt x="63" y="94"/>
                      <a:pt x="87" y="92"/>
                    </a:cubicBezTo>
                    <a:cubicBezTo>
                      <a:pt x="89" y="41"/>
                      <a:pt x="131" y="0"/>
                      <a:pt x="183" y="0"/>
                    </a:cubicBezTo>
                    <a:cubicBezTo>
                      <a:pt x="220" y="0"/>
                      <a:pt x="254" y="22"/>
                      <a:pt x="270" y="55"/>
                    </a:cubicBezTo>
                    <a:cubicBezTo>
                      <a:pt x="282" y="48"/>
                      <a:pt x="297" y="44"/>
                      <a:pt x="312" y="44"/>
                    </a:cubicBezTo>
                    <a:cubicBezTo>
                      <a:pt x="360" y="44"/>
                      <a:pt x="400" y="84"/>
                      <a:pt x="400" y="133"/>
                    </a:cubicBezTo>
                    <a:cubicBezTo>
                      <a:pt x="400" y="181"/>
                      <a:pt x="360" y="221"/>
                      <a:pt x="312" y="221"/>
                    </a:cubicBezTo>
                    <a:close/>
                    <a:moveTo>
                      <a:pt x="45" y="162"/>
                    </a:moveTo>
                    <a:cubicBezTo>
                      <a:pt x="37" y="162"/>
                      <a:pt x="31" y="168"/>
                      <a:pt x="31" y="176"/>
                    </a:cubicBezTo>
                    <a:cubicBezTo>
                      <a:pt x="31" y="183"/>
                      <a:pt x="37" y="190"/>
                      <a:pt x="45" y="190"/>
                    </a:cubicBezTo>
                    <a:cubicBezTo>
                      <a:pt x="312" y="190"/>
                      <a:pt x="312" y="190"/>
                      <a:pt x="312" y="190"/>
                    </a:cubicBezTo>
                    <a:cubicBezTo>
                      <a:pt x="343" y="190"/>
                      <a:pt x="369" y="164"/>
                      <a:pt x="369" y="133"/>
                    </a:cubicBezTo>
                    <a:cubicBezTo>
                      <a:pt x="369" y="101"/>
                      <a:pt x="343" y="76"/>
                      <a:pt x="312" y="76"/>
                    </a:cubicBezTo>
                    <a:cubicBezTo>
                      <a:pt x="297" y="76"/>
                      <a:pt x="283" y="81"/>
                      <a:pt x="272" y="91"/>
                    </a:cubicBezTo>
                    <a:cubicBezTo>
                      <a:pt x="252" y="111"/>
                      <a:pt x="252" y="111"/>
                      <a:pt x="252" y="111"/>
                    </a:cubicBezTo>
                    <a:cubicBezTo>
                      <a:pt x="246" y="83"/>
                      <a:pt x="246" y="83"/>
                      <a:pt x="246" y="83"/>
                    </a:cubicBezTo>
                    <a:cubicBezTo>
                      <a:pt x="240" y="53"/>
                      <a:pt x="214" y="31"/>
                      <a:pt x="183" y="31"/>
                    </a:cubicBezTo>
                    <a:cubicBezTo>
                      <a:pt x="147" y="31"/>
                      <a:pt x="118" y="60"/>
                      <a:pt x="118" y="96"/>
                    </a:cubicBezTo>
                    <a:cubicBezTo>
                      <a:pt x="118" y="99"/>
                      <a:pt x="118" y="102"/>
                      <a:pt x="118" y="105"/>
                    </a:cubicBezTo>
                    <a:cubicBezTo>
                      <a:pt x="121" y="126"/>
                      <a:pt x="121" y="126"/>
                      <a:pt x="121" y="126"/>
                    </a:cubicBezTo>
                    <a:cubicBezTo>
                      <a:pt x="100" y="123"/>
                      <a:pt x="100" y="123"/>
                      <a:pt x="100" y="123"/>
                    </a:cubicBezTo>
                    <a:cubicBezTo>
                      <a:pt x="98" y="122"/>
                      <a:pt x="96" y="122"/>
                      <a:pt x="94" y="122"/>
                    </a:cubicBezTo>
                    <a:cubicBezTo>
                      <a:pt x="78" y="122"/>
                      <a:pt x="64" y="134"/>
                      <a:pt x="61" y="149"/>
                    </a:cubicBezTo>
                    <a:cubicBezTo>
                      <a:pt x="59" y="162"/>
                      <a:pt x="59" y="162"/>
                      <a:pt x="59" y="162"/>
                    </a:cubicBezTo>
                    <a:cubicBezTo>
                      <a:pt x="46" y="162"/>
                      <a:pt x="46" y="162"/>
                      <a:pt x="46" y="162"/>
                    </a:cubicBezTo>
                    <a:cubicBezTo>
                      <a:pt x="45" y="162"/>
                      <a:pt x="45" y="162"/>
                      <a:pt x="4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50"/>
                <a:endParaRPr lang="en-US" sz="1667" dirty="0">
                  <a:solidFill>
                    <a:srgbClr val="FFFFFF"/>
                  </a:solidFill>
                  <a:latin typeface="Segoe UI"/>
                </a:endParaRPr>
              </a:p>
            </p:txBody>
          </p:sp>
          <p:sp>
            <p:nvSpPr>
              <p:cNvPr id="110" name="Freeform 75"/>
              <p:cNvSpPr>
                <a:spLocks/>
              </p:cNvSpPr>
              <p:nvPr/>
            </p:nvSpPr>
            <p:spPr bwMode="auto">
              <a:xfrm>
                <a:off x="123825" y="5727700"/>
                <a:ext cx="230188" cy="311150"/>
              </a:xfrm>
              <a:custGeom>
                <a:avLst/>
                <a:gdLst>
                  <a:gd name="T0" fmla="*/ 61 w 61"/>
                  <a:gd name="T1" fmla="*/ 0 h 83"/>
                  <a:gd name="T2" fmla="*/ 57 w 61"/>
                  <a:gd name="T3" fmla="*/ 52 h 83"/>
                  <a:gd name="T4" fmla="*/ 18 w 61"/>
                  <a:gd name="T5" fmla="*/ 73 h 83"/>
                  <a:gd name="T6" fmla="*/ 18 w 61"/>
                  <a:gd name="T7" fmla="*/ 29 h 83"/>
                  <a:gd name="T8" fmla="*/ 61 w 61"/>
                  <a:gd name="T9" fmla="*/ 0 h 83"/>
                </a:gdLst>
                <a:ahLst/>
                <a:cxnLst>
                  <a:cxn ang="0">
                    <a:pos x="T0" y="T1"/>
                  </a:cxn>
                  <a:cxn ang="0">
                    <a:pos x="T2" y="T3"/>
                  </a:cxn>
                  <a:cxn ang="0">
                    <a:pos x="T4" y="T5"/>
                  </a:cxn>
                  <a:cxn ang="0">
                    <a:pos x="T6" y="T7"/>
                  </a:cxn>
                  <a:cxn ang="0">
                    <a:pos x="T8" y="T9"/>
                  </a:cxn>
                </a:cxnLst>
                <a:rect l="0" t="0" r="r" b="b"/>
                <a:pathLst>
                  <a:path w="61" h="83">
                    <a:moveTo>
                      <a:pt x="61" y="0"/>
                    </a:moveTo>
                    <a:cubicBezTo>
                      <a:pt x="56" y="20"/>
                      <a:pt x="59" y="30"/>
                      <a:pt x="57" y="52"/>
                    </a:cubicBezTo>
                    <a:cubicBezTo>
                      <a:pt x="56" y="73"/>
                      <a:pt x="34" y="83"/>
                      <a:pt x="18" y="73"/>
                    </a:cubicBezTo>
                    <a:cubicBezTo>
                      <a:pt x="3" y="64"/>
                      <a:pt x="0" y="41"/>
                      <a:pt x="18" y="29"/>
                    </a:cubicBezTo>
                    <a:cubicBezTo>
                      <a:pt x="36" y="17"/>
                      <a:pt x="46" y="15"/>
                      <a:pt x="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50"/>
                <a:endParaRPr lang="en-US" sz="1667" dirty="0">
                  <a:solidFill>
                    <a:srgbClr val="FFFFFF"/>
                  </a:solidFill>
                  <a:latin typeface="Segoe UI"/>
                </a:endParaRPr>
              </a:p>
            </p:txBody>
          </p:sp>
          <p:sp>
            <p:nvSpPr>
              <p:cNvPr id="111" name="Freeform 77"/>
              <p:cNvSpPr>
                <a:spLocks/>
              </p:cNvSpPr>
              <p:nvPr/>
            </p:nvSpPr>
            <p:spPr bwMode="auto">
              <a:xfrm>
                <a:off x="536575" y="5727700"/>
                <a:ext cx="225425" cy="311150"/>
              </a:xfrm>
              <a:custGeom>
                <a:avLst/>
                <a:gdLst>
                  <a:gd name="T0" fmla="*/ 60 w 60"/>
                  <a:gd name="T1" fmla="*/ 0 h 83"/>
                  <a:gd name="T2" fmla="*/ 56 w 60"/>
                  <a:gd name="T3" fmla="*/ 52 h 83"/>
                  <a:gd name="T4" fmla="*/ 17 w 60"/>
                  <a:gd name="T5" fmla="*/ 73 h 83"/>
                  <a:gd name="T6" fmla="*/ 17 w 60"/>
                  <a:gd name="T7" fmla="*/ 29 h 83"/>
                  <a:gd name="T8" fmla="*/ 60 w 60"/>
                  <a:gd name="T9" fmla="*/ 0 h 83"/>
                </a:gdLst>
                <a:ahLst/>
                <a:cxnLst>
                  <a:cxn ang="0">
                    <a:pos x="T0" y="T1"/>
                  </a:cxn>
                  <a:cxn ang="0">
                    <a:pos x="T2" y="T3"/>
                  </a:cxn>
                  <a:cxn ang="0">
                    <a:pos x="T4" y="T5"/>
                  </a:cxn>
                  <a:cxn ang="0">
                    <a:pos x="T6" y="T7"/>
                  </a:cxn>
                  <a:cxn ang="0">
                    <a:pos x="T8" y="T9"/>
                  </a:cxn>
                </a:cxnLst>
                <a:rect l="0" t="0" r="r" b="b"/>
                <a:pathLst>
                  <a:path w="60" h="83">
                    <a:moveTo>
                      <a:pt x="60" y="0"/>
                    </a:moveTo>
                    <a:cubicBezTo>
                      <a:pt x="54" y="20"/>
                      <a:pt x="57" y="30"/>
                      <a:pt x="56" y="52"/>
                    </a:cubicBezTo>
                    <a:cubicBezTo>
                      <a:pt x="54" y="73"/>
                      <a:pt x="33" y="83"/>
                      <a:pt x="17" y="73"/>
                    </a:cubicBezTo>
                    <a:cubicBezTo>
                      <a:pt x="1" y="64"/>
                      <a:pt x="0" y="41"/>
                      <a:pt x="17" y="29"/>
                    </a:cubicBezTo>
                    <a:cubicBezTo>
                      <a:pt x="36" y="17"/>
                      <a:pt x="45" y="15"/>
                      <a:pt x="6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50"/>
                <a:endParaRPr lang="en-US" sz="1667" dirty="0">
                  <a:solidFill>
                    <a:srgbClr val="FFFFFF"/>
                  </a:solidFill>
                  <a:latin typeface="Segoe UI"/>
                </a:endParaRPr>
              </a:p>
            </p:txBody>
          </p:sp>
          <p:sp>
            <p:nvSpPr>
              <p:cNvPr id="112" name="Freeform 79"/>
              <p:cNvSpPr>
                <a:spLocks/>
              </p:cNvSpPr>
              <p:nvPr/>
            </p:nvSpPr>
            <p:spPr bwMode="auto">
              <a:xfrm>
                <a:off x="949325" y="5727700"/>
                <a:ext cx="228600" cy="311150"/>
              </a:xfrm>
              <a:custGeom>
                <a:avLst/>
                <a:gdLst>
                  <a:gd name="T0" fmla="*/ 61 w 61"/>
                  <a:gd name="T1" fmla="*/ 0 h 83"/>
                  <a:gd name="T2" fmla="*/ 57 w 61"/>
                  <a:gd name="T3" fmla="*/ 52 h 83"/>
                  <a:gd name="T4" fmla="*/ 18 w 61"/>
                  <a:gd name="T5" fmla="*/ 73 h 83"/>
                  <a:gd name="T6" fmla="*/ 17 w 61"/>
                  <a:gd name="T7" fmla="*/ 29 h 83"/>
                  <a:gd name="T8" fmla="*/ 61 w 61"/>
                  <a:gd name="T9" fmla="*/ 0 h 83"/>
                </a:gdLst>
                <a:ahLst/>
                <a:cxnLst>
                  <a:cxn ang="0">
                    <a:pos x="T0" y="T1"/>
                  </a:cxn>
                  <a:cxn ang="0">
                    <a:pos x="T2" y="T3"/>
                  </a:cxn>
                  <a:cxn ang="0">
                    <a:pos x="T4" y="T5"/>
                  </a:cxn>
                  <a:cxn ang="0">
                    <a:pos x="T6" y="T7"/>
                  </a:cxn>
                  <a:cxn ang="0">
                    <a:pos x="T8" y="T9"/>
                  </a:cxn>
                </a:cxnLst>
                <a:rect l="0" t="0" r="r" b="b"/>
                <a:pathLst>
                  <a:path w="61" h="83">
                    <a:moveTo>
                      <a:pt x="61" y="0"/>
                    </a:moveTo>
                    <a:cubicBezTo>
                      <a:pt x="55" y="20"/>
                      <a:pt x="58" y="30"/>
                      <a:pt x="57" y="52"/>
                    </a:cubicBezTo>
                    <a:cubicBezTo>
                      <a:pt x="55" y="73"/>
                      <a:pt x="34" y="83"/>
                      <a:pt x="18" y="73"/>
                    </a:cubicBezTo>
                    <a:cubicBezTo>
                      <a:pt x="2" y="64"/>
                      <a:pt x="0" y="41"/>
                      <a:pt x="17" y="29"/>
                    </a:cubicBezTo>
                    <a:cubicBezTo>
                      <a:pt x="35" y="17"/>
                      <a:pt x="46" y="15"/>
                      <a:pt x="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50"/>
                <a:endParaRPr lang="en-US" sz="1667" dirty="0">
                  <a:solidFill>
                    <a:srgbClr val="FFFFFF"/>
                  </a:solidFill>
                  <a:latin typeface="Segoe UI"/>
                </a:endParaRPr>
              </a:p>
            </p:txBody>
          </p:sp>
        </p:grpSp>
      </p:grpSp>
      <p:grpSp>
        <p:nvGrpSpPr>
          <p:cNvPr id="19" name="Group 18"/>
          <p:cNvGrpSpPr/>
          <p:nvPr/>
        </p:nvGrpSpPr>
        <p:grpSpPr>
          <a:xfrm>
            <a:off x="7722259" y="3130192"/>
            <a:ext cx="1487328" cy="1487329"/>
            <a:chOff x="7877106" y="3192462"/>
            <a:chExt cx="1517152" cy="1517153"/>
          </a:xfrm>
        </p:grpSpPr>
        <p:sp>
          <p:nvSpPr>
            <p:cNvPr id="91" name="Rectangle 90"/>
            <p:cNvSpPr/>
            <p:nvPr/>
          </p:nvSpPr>
          <p:spPr bwMode="auto">
            <a:xfrm>
              <a:off x="7877106" y="3192462"/>
              <a:ext cx="1517152" cy="151715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b" anchorCtr="0" forceAA="0" compatLnSpc="1">
              <a:prstTxWarp prst="textNoShape">
                <a:avLst/>
              </a:prstTxWarp>
              <a:noAutofit/>
            </a:bodyPr>
            <a:lstStyle/>
            <a:p>
              <a:pPr defTabSz="914102" fontAlgn="base">
                <a:lnSpc>
                  <a:spcPct val="90000"/>
                </a:lnSpc>
                <a:spcBef>
                  <a:spcPct val="0"/>
                </a:spcBef>
                <a:spcAft>
                  <a:spcPct val="0"/>
                </a:spcAft>
              </a:pPr>
              <a:r>
                <a:rPr lang="en-US" sz="1372" kern="0" dirty="0">
                  <a:solidFill>
                    <a:sysClr val="window" lastClr="FFFFFF"/>
                  </a:solidFill>
                  <a:latin typeface="Segoe UI"/>
                  <a:cs typeface="Segoe UI" pitchFamily="34" charset="0"/>
                </a:rPr>
                <a:t>Healthcare outcomes</a:t>
              </a:r>
            </a:p>
          </p:txBody>
        </p:sp>
        <p:sp>
          <p:nvSpPr>
            <p:cNvPr id="118" name="Freeform 677"/>
            <p:cNvSpPr>
              <a:spLocks noChangeAspect="1" noEditPoints="1"/>
            </p:cNvSpPr>
            <p:nvPr/>
          </p:nvSpPr>
          <p:spPr bwMode="auto">
            <a:xfrm>
              <a:off x="8379062" y="3454699"/>
              <a:ext cx="513239" cy="657664"/>
            </a:xfrm>
            <a:custGeom>
              <a:avLst/>
              <a:gdLst>
                <a:gd name="T0" fmla="*/ 186 w 266"/>
                <a:gd name="T1" fmla="*/ 128 h 341"/>
                <a:gd name="T2" fmla="*/ 133 w 266"/>
                <a:gd name="T3" fmla="*/ 181 h 341"/>
                <a:gd name="T4" fmla="*/ 80 w 266"/>
                <a:gd name="T5" fmla="*/ 128 h 341"/>
                <a:gd name="T6" fmla="*/ 133 w 266"/>
                <a:gd name="T7" fmla="*/ 75 h 341"/>
                <a:gd name="T8" fmla="*/ 186 w 266"/>
                <a:gd name="T9" fmla="*/ 128 h 341"/>
                <a:gd name="T10" fmla="*/ 133 w 266"/>
                <a:gd name="T11" fmla="*/ 0 h 341"/>
                <a:gd name="T12" fmla="*/ 216 w 266"/>
                <a:gd name="T13" fmla="*/ 33 h 341"/>
                <a:gd name="T14" fmla="*/ 187 w 266"/>
                <a:gd name="T15" fmla="*/ 88 h 341"/>
                <a:gd name="T16" fmla="*/ 133 w 266"/>
                <a:gd name="T17" fmla="*/ 62 h 341"/>
                <a:gd name="T18" fmla="*/ 79 w 266"/>
                <a:gd name="T19" fmla="*/ 88 h 341"/>
                <a:gd name="T20" fmla="*/ 50 w 266"/>
                <a:gd name="T21" fmla="*/ 34 h 341"/>
                <a:gd name="T22" fmla="*/ 133 w 266"/>
                <a:gd name="T23" fmla="*/ 0 h 341"/>
                <a:gd name="T24" fmla="*/ 125 w 266"/>
                <a:gd name="T25" fmla="*/ 53 h 341"/>
                <a:gd name="T26" fmla="*/ 141 w 266"/>
                <a:gd name="T27" fmla="*/ 53 h 341"/>
                <a:gd name="T28" fmla="*/ 141 w 266"/>
                <a:gd name="T29" fmla="*/ 39 h 341"/>
                <a:gd name="T30" fmla="*/ 155 w 266"/>
                <a:gd name="T31" fmla="*/ 39 h 341"/>
                <a:gd name="T32" fmla="*/ 155 w 266"/>
                <a:gd name="T33" fmla="*/ 23 h 341"/>
                <a:gd name="T34" fmla="*/ 141 w 266"/>
                <a:gd name="T35" fmla="*/ 23 h 341"/>
                <a:gd name="T36" fmla="*/ 141 w 266"/>
                <a:gd name="T37" fmla="*/ 9 h 341"/>
                <a:gd name="T38" fmla="*/ 125 w 266"/>
                <a:gd name="T39" fmla="*/ 9 h 341"/>
                <a:gd name="T40" fmla="*/ 125 w 266"/>
                <a:gd name="T41" fmla="*/ 23 h 341"/>
                <a:gd name="T42" fmla="*/ 111 w 266"/>
                <a:gd name="T43" fmla="*/ 23 h 341"/>
                <a:gd name="T44" fmla="*/ 111 w 266"/>
                <a:gd name="T45" fmla="*/ 39 h 341"/>
                <a:gd name="T46" fmla="*/ 125 w 266"/>
                <a:gd name="T47" fmla="*/ 39 h 341"/>
                <a:gd name="T48" fmla="*/ 125 w 266"/>
                <a:gd name="T49" fmla="*/ 53 h 341"/>
                <a:gd name="T50" fmla="*/ 64 w 266"/>
                <a:gd name="T51" fmla="*/ 275 h 341"/>
                <a:gd name="T52" fmla="*/ 77 w 266"/>
                <a:gd name="T53" fmla="*/ 275 h 341"/>
                <a:gd name="T54" fmla="*/ 58 w 266"/>
                <a:gd name="T55" fmla="*/ 341 h 341"/>
                <a:gd name="T56" fmla="*/ 209 w 266"/>
                <a:gd name="T57" fmla="*/ 341 h 341"/>
                <a:gd name="T58" fmla="*/ 189 w 266"/>
                <a:gd name="T59" fmla="*/ 275 h 341"/>
                <a:gd name="T60" fmla="*/ 203 w 266"/>
                <a:gd name="T61" fmla="*/ 275 h 341"/>
                <a:gd name="T62" fmla="*/ 222 w 266"/>
                <a:gd name="T63" fmla="*/ 341 h 341"/>
                <a:gd name="T64" fmla="*/ 266 w 266"/>
                <a:gd name="T65" fmla="*/ 341 h 341"/>
                <a:gd name="T66" fmla="*/ 236 w 266"/>
                <a:gd name="T67" fmla="*/ 241 h 341"/>
                <a:gd name="T68" fmla="*/ 175 w 266"/>
                <a:gd name="T69" fmla="*/ 195 h 341"/>
                <a:gd name="T70" fmla="*/ 93 w 266"/>
                <a:gd name="T71" fmla="*/ 195 h 341"/>
                <a:gd name="T72" fmla="*/ 30 w 266"/>
                <a:gd name="T73" fmla="*/ 241 h 341"/>
                <a:gd name="T74" fmla="*/ 0 w 266"/>
                <a:gd name="T75" fmla="*/ 341 h 341"/>
                <a:gd name="T76" fmla="*/ 44 w 266"/>
                <a:gd name="T77" fmla="*/ 341 h 341"/>
                <a:gd name="T78" fmla="*/ 64 w 266"/>
                <a:gd name="T79" fmla="*/ 275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66" h="341">
                  <a:moveTo>
                    <a:pt x="186" y="128"/>
                  </a:moveTo>
                  <a:cubicBezTo>
                    <a:pt x="186" y="157"/>
                    <a:pt x="162" y="181"/>
                    <a:pt x="133" y="181"/>
                  </a:cubicBezTo>
                  <a:cubicBezTo>
                    <a:pt x="104" y="181"/>
                    <a:pt x="80" y="157"/>
                    <a:pt x="80" y="128"/>
                  </a:cubicBezTo>
                  <a:cubicBezTo>
                    <a:pt x="80" y="99"/>
                    <a:pt x="104" y="75"/>
                    <a:pt x="133" y="75"/>
                  </a:cubicBezTo>
                  <a:cubicBezTo>
                    <a:pt x="162" y="75"/>
                    <a:pt x="186" y="99"/>
                    <a:pt x="186" y="128"/>
                  </a:cubicBezTo>
                  <a:close/>
                  <a:moveTo>
                    <a:pt x="133" y="0"/>
                  </a:moveTo>
                  <a:cubicBezTo>
                    <a:pt x="156" y="0"/>
                    <a:pt x="195" y="10"/>
                    <a:pt x="216" y="33"/>
                  </a:cubicBezTo>
                  <a:cubicBezTo>
                    <a:pt x="187" y="88"/>
                    <a:pt x="187" y="88"/>
                    <a:pt x="187" y="88"/>
                  </a:cubicBezTo>
                  <a:cubicBezTo>
                    <a:pt x="175" y="72"/>
                    <a:pt x="155" y="62"/>
                    <a:pt x="133" y="62"/>
                  </a:cubicBezTo>
                  <a:cubicBezTo>
                    <a:pt x="111" y="62"/>
                    <a:pt x="92" y="72"/>
                    <a:pt x="79" y="88"/>
                  </a:cubicBezTo>
                  <a:cubicBezTo>
                    <a:pt x="50" y="34"/>
                    <a:pt x="50" y="34"/>
                    <a:pt x="50" y="34"/>
                  </a:cubicBezTo>
                  <a:cubicBezTo>
                    <a:pt x="75" y="10"/>
                    <a:pt x="109" y="0"/>
                    <a:pt x="133" y="0"/>
                  </a:cubicBezTo>
                  <a:close/>
                  <a:moveTo>
                    <a:pt x="125" y="53"/>
                  </a:moveTo>
                  <a:cubicBezTo>
                    <a:pt x="141" y="53"/>
                    <a:pt x="141" y="53"/>
                    <a:pt x="141" y="53"/>
                  </a:cubicBezTo>
                  <a:cubicBezTo>
                    <a:pt x="141" y="39"/>
                    <a:pt x="141" y="39"/>
                    <a:pt x="141" y="39"/>
                  </a:cubicBezTo>
                  <a:cubicBezTo>
                    <a:pt x="155" y="39"/>
                    <a:pt x="155" y="39"/>
                    <a:pt x="155" y="39"/>
                  </a:cubicBezTo>
                  <a:cubicBezTo>
                    <a:pt x="155" y="23"/>
                    <a:pt x="155" y="23"/>
                    <a:pt x="155" y="23"/>
                  </a:cubicBezTo>
                  <a:cubicBezTo>
                    <a:pt x="141" y="23"/>
                    <a:pt x="141" y="23"/>
                    <a:pt x="141" y="23"/>
                  </a:cubicBezTo>
                  <a:cubicBezTo>
                    <a:pt x="141" y="9"/>
                    <a:pt x="141" y="9"/>
                    <a:pt x="141" y="9"/>
                  </a:cubicBezTo>
                  <a:cubicBezTo>
                    <a:pt x="125" y="9"/>
                    <a:pt x="125" y="9"/>
                    <a:pt x="125" y="9"/>
                  </a:cubicBezTo>
                  <a:cubicBezTo>
                    <a:pt x="125" y="23"/>
                    <a:pt x="125" y="23"/>
                    <a:pt x="125" y="23"/>
                  </a:cubicBezTo>
                  <a:cubicBezTo>
                    <a:pt x="111" y="23"/>
                    <a:pt x="111" y="23"/>
                    <a:pt x="111" y="23"/>
                  </a:cubicBezTo>
                  <a:cubicBezTo>
                    <a:pt x="111" y="39"/>
                    <a:pt x="111" y="39"/>
                    <a:pt x="111" y="39"/>
                  </a:cubicBezTo>
                  <a:cubicBezTo>
                    <a:pt x="125" y="39"/>
                    <a:pt x="125" y="39"/>
                    <a:pt x="125" y="39"/>
                  </a:cubicBezTo>
                  <a:lnTo>
                    <a:pt x="125" y="53"/>
                  </a:lnTo>
                  <a:close/>
                  <a:moveTo>
                    <a:pt x="64" y="275"/>
                  </a:moveTo>
                  <a:cubicBezTo>
                    <a:pt x="77" y="275"/>
                    <a:pt x="77" y="275"/>
                    <a:pt x="77" y="275"/>
                  </a:cubicBezTo>
                  <a:cubicBezTo>
                    <a:pt x="58" y="341"/>
                    <a:pt x="58" y="341"/>
                    <a:pt x="58" y="341"/>
                  </a:cubicBezTo>
                  <a:cubicBezTo>
                    <a:pt x="209" y="341"/>
                    <a:pt x="209" y="341"/>
                    <a:pt x="209" y="341"/>
                  </a:cubicBezTo>
                  <a:cubicBezTo>
                    <a:pt x="189" y="275"/>
                    <a:pt x="189" y="275"/>
                    <a:pt x="189" y="275"/>
                  </a:cubicBezTo>
                  <a:cubicBezTo>
                    <a:pt x="203" y="275"/>
                    <a:pt x="203" y="275"/>
                    <a:pt x="203" y="275"/>
                  </a:cubicBezTo>
                  <a:cubicBezTo>
                    <a:pt x="222" y="341"/>
                    <a:pt x="222" y="341"/>
                    <a:pt x="222" y="341"/>
                  </a:cubicBezTo>
                  <a:cubicBezTo>
                    <a:pt x="266" y="341"/>
                    <a:pt x="266" y="341"/>
                    <a:pt x="266" y="341"/>
                  </a:cubicBezTo>
                  <a:cubicBezTo>
                    <a:pt x="236" y="241"/>
                    <a:pt x="236" y="241"/>
                    <a:pt x="236" y="241"/>
                  </a:cubicBezTo>
                  <a:cubicBezTo>
                    <a:pt x="232" y="225"/>
                    <a:pt x="211" y="196"/>
                    <a:pt x="175" y="195"/>
                  </a:cubicBezTo>
                  <a:cubicBezTo>
                    <a:pt x="93" y="195"/>
                    <a:pt x="93" y="195"/>
                    <a:pt x="93" y="195"/>
                  </a:cubicBezTo>
                  <a:cubicBezTo>
                    <a:pt x="56" y="195"/>
                    <a:pt x="35" y="225"/>
                    <a:pt x="30" y="241"/>
                  </a:cubicBezTo>
                  <a:cubicBezTo>
                    <a:pt x="0" y="341"/>
                    <a:pt x="0" y="341"/>
                    <a:pt x="0" y="341"/>
                  </a:cubicBezTo>
                  <a:cubicBezTo>
                    <a:pt x="44" y="341"/>
                    <a:pt x="44" y="341"/>
                    <a:pt x="44" y="341"/>
                  </a:cubicBezTo>
                  <a:lnTo>
                    <a:pt x="64" y="275"/>
                  </a:lnTo>
                  <a:close/>
                </a:path>
              </a:pathLst>
            </a:custGeom>
            <a:solidFill>
              <a:schemeClr val="bg1"/>
            </a:solidFill>
            <a:ln>
              <a:noFill/>
            </a:ln>
            <a:extLst/>
          </p:spPr>
          <p:txBody>
            <a:bodyPr vert="horz" wrap="square" lIns="89642" tIns="44821" rIns="89642" bIns="44821" numCol="1" anchor="t" anchorCtr="0" compatLnSpc="1">
              <a:prstTxWarp prst="textNoShape">
                <a:avLst/>
              </a:prstTxWarp>
            </a:bodyPr>
            <a:lstStyle/>
            <a:p>
              <a:pPr defTabSz="914367"/>
              <a:endParaRPr lang="en-US" sz="1765" dirty="0">
                <a:solidFill>
                  <a:srgbClr val="00B0F0"/>
                </a:solidFill>
                <a:latin typeface="Segoe UI"/>
              </a:endParaRPr>
            </a:p>
          </p:txBody>
        </p:sp>
      </p:grpSp>
      <p:grpSp>
        <p:nvGrpSpPr>
          <p:cNvPr id="15" name="Group 14"/>
          <p:cNvGrpSpPr/>
          <p:nvPr/>
        </p:nvGrpSpPr>
        <p:grpSpPr>
          <a:xfrm>
            <a:off x="7722259" y="1561449"/>
            <a:ext cx="1487328" cy="1487329"/>
            <a:chOff x="7877106" y="1592262"/>
            <a:chExt cx="1517152" cy="1517153"/>
          </a:xfrm>
        </p:grpSpPr>
        <p:sp>
          <p:nvSpPr>
            <p:cNvPr id="64" name="Rectangle 63"/>
            <p:cNvSpPr/>
            <p:nvPr/>
          </p:nvSpPr>
          <p:spPr bwMode="auto">
            <a:xfrm>
              <a:off x="7877106" y="1592262"/>
              <a:ext cx="1517152" cy="151715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b" anchorCtr="0" forceAA="0" compatLnSpc="1">
              <a:prstTxWarp prst="textNoShape">
                <a:avLst/>
              </a:prstTxWarp>
              <a:noAutofit/>
            </a:bodyPr>
            <a:lstStyle/>
            <a:p>
              <a:pPr defTabSz="914102" fontAlgn="base">
                <a:lnSpc>
                  <a:spcPct val="90000"/>
                </a:lnSpc>
                <a:spcBef>
                  <a:spcPct val="0"/>
                </a:spcBef>
                <a:spcAft>
                  <a:spcPct val="0"/>
                </a:spcAft>
              </a:pPr>
              <a:r>
                <a:rPr lang="en-US" sz="1372" kern="0" dirty="0">
                  <a:solidFill>
                    <a:sysClr val="window" lastClr="FFFFFF"/>
                  </a:solidFill>
                  <a:latin typeface="Segoe UI"/>
                  <a:cs typeface="Segoe UI" pitchFamily="34" charset="0"/>
                </a:rPr>
                <a:t>Predictive maintenance</a:t>
              </a:r>
            </a:p>
          </p:txBody>
        </p:sp>
        <p:sp>
          <p:nvSpPr>
            <p:cNvPr id="119" name="Freeform 81"/>
            <p:cNvSpPr>
              <a:spLocks noChangeAspect="1"/>
            </p:cNvSpPr>
            <p:nvPr/>
          </p:nvSpPr>
          <p:spPr bwMode="black">
            <a:xfrm>
              <a:off x="8337680" y="1707037"/>
              <a:ext cx="596002" cy="811531"/>
            </a:xfrm>
            <a:custGeom>
              <a:avLst/>
              <a:gdLst>
                <a:gd name="T0" fmla="*/ 230 w 256"/>
                <a:gd name="T1" fmla="*/ 221 h 349"/>
                <a:gd name="T2" fmla="*/ 256 w 256"/>
                <a:gd name="T3" fmla="*/ 202 h 349"/>
                <a:gd name="T4" fmla="*/ 232 w 256"/>
                <a:gd name="T5" fmla="*/ 184 h 349"/>
                <a:gd name="T6" fmla="*/ 239 w 256"/>
                <a:gd name="T7" fmla="*/ 170 h 349"/>
                <a:gd name="T8" fmla="*/ 217 w 256"/>
                <a:gd name="T9" fmla="*/ 152 h 349"/>
                <a:gd name="T10" fmla="*/ 187 w 256"/>
                <a:gd name="T11" fmla="*/ 152 h 349"/>
                <a:gd name="T12" fmla="*/ 187 w 256"/>
                <a:gd name="T13" fmla="*/ 91 h 349"/>
                <a:gd name="T14" fmla="*/ 217 w 256"/>
                <a:gd name="T15" fmla="*/ 45 h 349"/>
                <a:gd name="T16" fmla="*/ 203 w 256"/>
                <a:gd name="T17" fmla="*/ 10 h 349"/>
                <a:gd name="T18" fmla="*/ 166 w 256"/>
                <a:gd name="T19" fmla="*/ 58 h 349"/>
                <a:gd name="T20" fmla="*/ 130 w 256"/>
                <a:gd name="T21" fmla="*/ 10 h 349"/>
                <a:gd name="T22" fmla="*/ 116 w 256"/>
                <a:gd name="T23" fmla="*/ 45 h 349"/>
                <a:gd name="T24" fmla="*/ 146 w 256"/>
                <a:gd name="T25" fmla="*/ 91 h 349"/>
                <a:gd name="T26" fmla="*/ 146 w 256"/>
                <a:gd name="T27" fmla="*/ 121 h 349"/>
                <a:gd name="T28" fmla="*/ 143 w 256"/>
                <a:gd name="T29" fmla="*/ 119 h 349"/>
                <a:gd name="T30" fmla="*/ 99 w 256"/>
                <a:gd name="T31" fmla="*/ 126 h 349"/>
                <a:gd name="T32" fmla="*/ 45 w 256"/>
                <a:gd name="T33" fmla="*/ 162 h 349"/>
                <a:gd name="T34" fmla="*/ 0 w 256"/>
                <a:gd name="T35" fmla="*/ 162 h 349"/>
                <a:gd name="T36" fmla="*/ 0 w 256"/>
                <a:gd name="T37" fmla="*/ 272 h 349"/>
                <a:gd name="T38" fmla="*/ 70 w 256"/>
                <a:gd name="T39" fmla="*/ 277 h 349"/>
                <a:gd name="T40" fmla="*/ 132 w 256"/>
                <a:gd name="T41" fmla="*/ 286 h 349"/>
                <a:gd name="T42" fmla="*/ 127 w 256"/>
                <a:gd name="T43" fmla="*/ 273 h 349"/>
                <a:gd name="T44" fmla="*/ 139 w 256"/>
                <a:gd name="T45" fmla="*/ 255 h 349"/>
                <a:gd name="T46" fmla="*/ 125 w 256"/>
                <a:gd name="T47" fmla="*/ 237 h 349"/>
                <a:gd name="T48" fmla="*/ 140 w 256"/>
                <a:gd name="T49" fmla="*/ 219 h 349"/>
                <a:gd name="T50" fmla="*/ 125 w 256"/>
                <a:gd name="T51" fmla="*/ 201 h 349"/>
                <a:gd name="T52" fmla="*/ 138 w 256"/>
                <a:gd name="T53" fmla="*/ 185 h 349"/>
                <a:gd name="T54" fmla="*/ 125 w 256"/>
                <a:gd name="T55" fmla="*/ 167 h 349"/>
                <a:gd name="T56" fmla="*/ 146 w 256"/>
                <a:gd name="T57" fmla="*/ 148 h 349"/>
                <a:gd name="T58" fmla="*/ 146 w 256"/>
                <a:gd name="T59" fmla="*/ 155 h 349"/>
                <a:gd name="T60" fmla="*/ 137 w 256"/>
                <a:gd name="T61" fmla="*/ 170 h 349"/>
                <a:gd name="T62" fmla="*/ 146 w 256"/>
                <a:gd name="T63" fmla="*/ 185 h 349"/>
                <a:gd name="T64" fmla="*/ 146 w 256"/>
                <a:gd name="T65" fmla="*/ 188 h 349"/>
                <a:gd name="T66" fmla="*/ 137 w 256"/>
                <a:gd name="T67" fmla="*/ 202 h 349"/>
                <a:gd name="T68" fmla="*/ 146 w 256"/>
                <a:gd name="T69" fmla="*/ 216 h 349"/>
                <a:gd name="T70" fmla="*/ 146 w 256"/>
                <a:gd name="T71" fmla="*/ 224 h 349"/>
                <a:gd name="T72" fmla="*/ 137 w 256"/>
                <a:gd name="T73" fmla="*/ 239 h 349"/>
                <a:gd name="T74" fmla="*/ 146 w 256"/>
                <a:gd name="T75" fmla="*/ 254 h 349"/>
                <a:gd name="T76" fmla="*/ 146 w 256"/>
                <a:gd name="T77" fmla="*/ 261 h 349"/>
                <a:gd name="T78" fmla="*/ 139 w 256"/>
                <a:gd name="T79" fmla="*/ 276 h 349"/>
                <a:gd name="T80" fmla="*/ 146 w 256"/>
                <a:gd name="T81" fmla="*/ 291 h 349"/>
                <a:gd name="T82" fmla="*/ 146 w 256"/>
                <a:gd name="T83" fmla="*/ 324 h 349"/>
                <a:gd name="T84" fmla="*/ 167 w 256"/>
                <a:gd name="T85" fmla="*/ 349 h 349"/>
                <a:gd name="T86" fmla="*/ 187 w 256"/>
                <a:gd name="T87" fmla="*/ 324 h 349"/>
                <a:gd name="T88" fmla="*/ 187 w 256"/>
                <a:gd name="T89" fmla="*/ 294 h 349"/>
                <a:gd name="T90" fmla="*/ 207 w 256"/>
                <a:gd name="T91" fmla="*/ 294 h 349"/>
                <a:gd name="T92" fmla="*/ 226 w 256"/>
                <a:gd name="T93" fmla="*/ 276 h 349"/>
                <a:gd name="T94" fmla="*/ 207 w 256"/>
                <a:gd name="T95" fmla="*/ 257 h 349"/>
                <a:gd name="T96" fmla="*/ 187 w 256"/>
                <a:gd name="T97" fmla="*/ 257 h 349"/>
                <a:gd name="T98" fmla="*/ 187 w 256"/>
                <a:gd name="T99" fmla="*/ 257 h 349"/>
                <a:gd name="T100" fmla="*/ 217 w 256"/>
                <a:gd name="T101" fmla="*/ 257 h 349"/>
                <a:gd name="T102" fmla="*/ 239 w 256"/>
                <a:gd name="T103" fmla="*/ 239 h 349"/>
                <a:gd name="T104" fmla="*/ 217 w 256"/>
                <a:gd name="T105" fmla="*/ 221 h 349"/>
                <a:gd name="T106" fmla="*/ 187 w 256"/>
                <a:gd name="T107" fmla="*/ 221 h 349"/>
                <a:gd name="T108" fmla="*/ 187 w 256"/>
                <a:gd name="T109" fmla="*/ 221 h 349"/>
                <a:gd name="T110" fmla="*/ 230 w 256"/>
                <a:gd name="T111" fmla="*/ 221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49">
                  <a:moveTo>
                    <a:pt x="230" y="221"/>
                  </a:moveTo>
                  <a:cubicBezTo>
                    <a:pt x="245" y="221"/>
                    <a:pt x="256" y="212"/>
                    <a:pt x="256" y="202"/>
                  </a:cubicBezTo>
                  <a:cubicBezTo>
                    <a:pt x="256" y="192"/>
                    <a:pt x="245" y="184"/>
                    <a:pt x="232" y="184"/>
                  </a:cubicBezTo>
                  <a:cubicBezTo>
                    <a:pt x="236" y="180"/>
                    <a:pt x="239" y="175"/>
                    <a:pt x="239" y="170"/>
                  </a:cubicBezTo>
                  <a:cubicBezTo>
                    <a:pt x="239" y="160"/>
                    <a:pt x="229" y="152"/>
                    <a:pt x="217" y="152"/>
                  </a:cubicBezTo>
                  <a:cubicBezTo>
                    <a:pt x="187" y="152"/>
                    <a:pt x="187" y="152"/>
                    <a:pt x="187" y="152"/>
                  </a:cubicBezTo>
                  <a:cubicBezTo>
                    <a:pt x="187" y="91"/>
                    <a:pt x="187" y="91"/>
                    <a:pt x="187" y="91"/>
                  </a:cubicBezTo>
                  <a:cubicBezTo>
                    <a:pt x="205" y="83"/>
                    <a:pt x="217" y="66"/>
                    <a:pt x="217" y="45"/>
                  </a:cubicBezTo>
                  <a:cubicBezTo>
                    <a:pt x="217" y="31"/>
                    <a:pt x="203" y="0"/>
                    <a:pt x="203" y="10"/>
                  </a:cubicBezTo>
                  <a:cubicBezTo>
                    <a:pt x="204" y="24"/>
                    <a:pt x="195" y="58"/>
                    <a:pt x="166" y="58"/>
                  </a:cubicBezTo>
                  <a:cubicBezTo>
                    <a:pt x="140" y="58"/>
                    <a:pt x="129" y="30"/>
                    <a:pt x="130" y="10"/>
                  </a:cubicBezTo>
                  <a:cubicBezTo>
                    <a:pt x="130" y="3"/>
                    <a:pt x="116" y="32"/>
                    <a:pt x="116" y="45"/>
                  </a:cubicBezTo>
                  <a:cubicBezTo>
                    <a:pt x="116" y="66"/>
                    <a:pt x="129" y="84"/>
                    <a:pt x="146" y="91"/>
                  </a:cubicBezTo>
                  <a:cubicBezTo>
                    <a:pt x="146" y="121"/>
                    <a:pt x="146" y="121"/>
                    <a:pt x="146" y="121"/>
                  </a:cubicBezTo>
                  <a:cubicBezTo>
                    <a:pt x="143" y="119"/>
                    <a:pt x="143" y="119"/>
                    <a:pt x="143" y="119"/>
                  </a:cubicBezTo>
                  <a:cubicBezTo>
                    <a:pt x="143" y="119"/>
                    <a:pt x="110" y="122"/>
                    <a:pt x="99" y="126"/>
                  </a:cubicBezTo>
                  <a:cubicBezTo>
                    <a:pt x="87" y="131"/>
                    <a:pt x="63" y="162"/>
                    <a:pt x="45" y="162"/>
                  </a:cubicBezTo>
                  <a:cubicBezTo>
                    <a:pt x="26" y="162"/>
                    <a:pt x="0" y="162"/>
                    <a:pt x="0" y="162"/>
                  </a:cubicBezTo>
                  <a:cubicBezTo>
                    <a:pt x="0" y="272"/>
                    <a:pt x="0" y="272"/>
                    <a:pt x="0" y="272"/>
                  </a:cubicBezTo>
                  <a:cubicBezTo>
                    <a:pt x="0" y="272"/>
                    <a:pt x="47" y="272"/>
                    <a:pt x="70" y="277"/>
                  </a:cubicBezTo>
                  <a:cubicBezTo>
                    <a:pt x="86" y="280"/>
                    <a:pt x="110" y="284"/>
                    <a:pt x="132" y="286"/>
                  </a:cubicBezTo>
                  <a:cubicBezTo>
                    <a:pt x="129" y="283"/>
                    <a:pt x="127" y="278"/>
                    <a:pt x="127" y="273"/>
                  </a:cubicBezTo>
                  <a:cubicBezTo>
                    <a:pt x="127" y="265"/>
                    <a:pt x="132" y="258"/>
                    <a:pt x="139" y="255"/>
                  </a:cubicBezTo>
                  <a:cubicBezTo>
                    <a:pt x="131" y="252"/>
                    <a:pt x="125" y="245"/>
                    <a:pt x="125" y="237"/>
                  </a:cubicBezTo>
                  <a:cubicBezTo>
                    <a:pt x="125" y="229"/>
                    <a:pt x="131" y="222"/>
                    <a:pt x="140" y="219"/>
                  </a:cubicBezTo>
                  <a:cubicBezTo>
                    <a:pt x="131" y="216"/>
                    <a:pt x="125" y="209"/>
                    <a:pt x="125" y="201"/>
                  </a:cubicBezTo>
                  <a:cubicBezTo>
                    <a:pt x="125" y="194"/>
                    <a:pt x="130" y="188"/>
                    <a:pt x="138" y="185"/>
                  </a:cubicBezTo>
                  <a:cubicBezTo>
                    <a:pt x="130" y="182"/>
                    <a:pt x="125" y="175"/>
                    <a:pt x="125" y="167"/>
                  </a:cubicBezTo>
                  <a:cubicBezTo>
                    <a:pt x="125" y="157"/>
                    <a:pt x="135" y="148"/>
                    <a:pt x="146" y="148"/>
                  </a:cubicBezTo>
                  <a:cubicBezTo>
                    <a:pt x="146" y="155"/>
                    <a:pt x="146" y="155"/>
                    <a:pt x="146" y="155"/>
                  </a:cubicBezTo>
                  <a:cubicBezTo>
                    <a:pt x="141" y="158"/>
                    <a:pt x="137" y="164"/>
                    <a:pt x="137" y="170"/>
                  </a:cubicBezTo>
                  <a:cubicBezTo>
                    <a:pt x="137" y="176"/>
                    <a:pt x="141" y="182"/>
                    <a:pt x="146" y="185"/>
                  </a:cubicBezTo>
                  <a:cubicBezTo>
                    <a:pt x="146" y="188"/>
                    <a:pt x="146" y="188"/>
                    <a:pt x="146" y="188"/>
                  </a:cubicBezTo>
                  <a:cubicBezTo>
                    <a:pt x="141" y="191"/>
                    <a:pt x="137" y="196"/>
                    <a:pt x="137" y="202"/>
                  </a:cubicBezTo>
                  <a:cubicBezTo>
                    <a:pt x="137" y="208"/>
                    <a:pt x="141" y="213"/>
                    <a:pt x="146" y="216"/>
                  </a:cubicBezTo>
                  <a:cubicBezTo>
                    <a:pt x="146" y="224"/>
                    <a:pt x="146" y="224"/>
                    <a:pt x="146" y="224"/>
                  </a:cubicBezTo>
                  <a:cubicBezTo>
                    <a:pt x="141" y="227"/>
                    <a:pt x="137" y="233"/>
                    <a:pt x="137" y="239"/>
                  </a:cubicBezTo>
                  <a:cubicBezTo>
                    <a:pt x="137" y="245"/>
                    <a:pt x="141" y="251"/>
                    <a:pt x="146" y="254"/>
                  </a:cubicBezTo>
                  <a:cubicBezTo>
                    <a:pt x="146" y="261"/>
                    <a:pt x="146" y="261"/>
                    <a:pt x="146" y="261"/>
                  </a:cubicBezTo>
                  <a:cubicBezTo>
                    <a:pt x="142" y="264"/>
                    <a:pt x="139" y="270"/>
                    <a:pt x="139" y="276"/>
                  </a:cubicBezTo>
                  <a:cubicBezTo>
                    <a:pt x="139" y="282"/>
                    <a:pt x="142" y="287"/>
                    <a:pt x="146" y="291"/>
                  </a:cubicBezTo>
                  <a:cubicBezTo>
                    <a:pt x="146" y="324"/>
                    <a:pt x="146" y="324"/>
                    <a:pt x="146" y="324"/>
                  </a:cubicBezTo>
                  <a:cubicBezTo>
                    <a:pt x="146" y="338"/>
                    <a:pt x="156" y="349"/>
                    <a:pt x="167" y="349"/>
                  </a:cubicBezTo>
                  <a:cubicBezTo>
                    <a:pt x="178" y="349"/>
                    <a:pt x="187" y="338"/>
                    <a:pt x="187" y="324"/>
                  </a:cubicBezTo>
                  <a:cubicBezTo>
                    <a:pt x="187" y="294"/>
                    <a:pt x="187" y="294"/>
                    <a:pt x="187" y="294"/>
                  </a:cubicBezTo>
                  <a:cubicBezTo>
                    <a:pt x="207" y="294"/>
                    <a:pt x="207" y="294"/>
                    <a:pt x="207" y="294"/>
                  </a:cubicBezTo>
                  <a:cubicBezTo>
                    <a:pt x="217" y="294"/>
                    <a:pt x="226" y="286"/>
                    <a:pt x="226" y="276"/>
                  </a:cubicBezTo>
                  <a:cubicBezTo>
                    <a:pt x="226" y="266"/>
                    <a:pt x="217" y="257"/>
                    <a:pt x="207" y="257"/>
                  </a:cubicBezTo>
                  <a:cubicBezTo>
                    <a:pt x="187" y="257"/>
                    <a:pt x="187" y="257"/>
                    <a:pt x="187" y="257"/>
                  </a:cubicBezTo>
                  <a:cubicBezTo>
                    <a:pt x="187" y="257"/>
                    <a:pt x="187" y="257"/>
                    <a:pt x="187" y="257"/>
                  </a:cubicBezTo>
                  <a:cubicBezTo>
                    <a:pt x="217" y="257"/>
                    <a:pt x="217" y="257"/>
                    <a:pt x="217" y="257"/>
                  </a:cubicBezTo>
                  <a:cubicBezTo>
                    <a:pt x="229" y="257"/>
                    <a:pt x="239" y="249"/>
                    <a:pt x="239" y="239"/>
                  </a:cubicBezTo>
                  <a:cubicBezTo>
                    <a:pt x="239" y="229"/>
                    <a:pt x="229" y="221"/>
                    <a:pt x="217" y="221"/>
                  </a:cubicBezTo>
                  <a:cubicBezTo>
                    <a:pt x="187" y="221"/>
                    <a:pt x="187" y="221"/>
                    <a:pt x="187" y="221"/>
                  </a:cubicBezTo>
                  <a:cubicBezTo>
                    <a:pt x="187" y="221"/>
                    <a:pt x="187" y="221"/>
                    <a:pt x="187" y="221"/>
                  </a:cubicBezTo>
                  <a:lnTo>
                    <a:pt x="230" y="221"/>
                  </a:lnTo>
                  <a:close/>
                </a:path>
              </a:pathLst>
            </a:custGeom>
            <a:solidFill>
              <a:srgbClr val="FFFFFF"/>
            </a:solidFill>
            <a:ln>
              <a:noFill/>
            </a:ln>
          </p:spPr>
          <p:txBody>
            <a:bodyPr vert="horz" wrap="square" lIns="80687" tIns="40344" rIns="80687" bIns="40344" numCol="1" anchor="t" anchorCtr="0" compatLnSpc="1">
              <a:prstTxWarp prst="textNoShape">
                <a:avLst/>
              </a:prstTxWarp>
            </a:bodyPr>
            <a:lstStyle/>
            <a:p>
              <a:pPr defTabSz="914367"/>
              <a:endParaRPr lang="en-US" sz="1568" dirty="0">
                <a:solidFill>
                  <a:srgbClr val="00B0F0"/>
                </a:solidFill>
                <a:latin typeface="Segoe UI"/>
              </a:endParaRPr>
            </a:p>
          </p:txBody>
        </p:sp>
      </p:grpSp>
      <p:grpSp>
        <p:nvGrpSpPr>
          <p:cNvPr id="26" name="Group 25"/>
          <p:cNvGrpSpPr/>
          <p:nvPr/>
        </p:nvGrpSpPr>
        <p:grpSpPr>
          <a:xfrm>
            <a:off x="4562362" y="4698936"/>
            <a:ext cx="1487328" cy="1487329"/>
            <a:chOff x="4653846" y="4792662"/>
            <a:chExt cx="1517152" cy="1517153"/>
          </a:xfrm>
        </p:grpSpPr>
        <p:sp>
          <p:nvSpPr>
            <p:cNvPr id="99" name="Rectangle 98"/>
            <p:cNvSpPr/>
            <p:nvPr/>
          </p:nvSpPr>
          <p:spPr bwMode="auto">
            <a:xfrm>
              <a:off x="4653846" y="4792662"/>
              <a:ext cx="1517152" cy="151715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b" anchorCtr="0" forceAA="0" compatLnSpc="1">
              <a:prstTxWarp prst="textNoShape">
                <a:avLst/>
              </a:prstTxWarp>
              <a:noAutofit/>
            </a:bodyPr>
            <a:lstStyle/>
            <a:p>
              <a:pPr defTabSz="914102" fontAlgn="base">
                <a:lnSpc>
                  <a:spcPct val="90000"/>
                </a:lnSpc>
                <a:spcBef>
                  <a:spcPct val="0"/>
                </a:spcBef>
                <a:spcAft>
                  <a:spcPct val="0"/>
                </a:spcAft>
              </a:pPr>
              <a:r>
                <a:rPr lang="en-US" sz="1372" kern="0" dirty="0">
                  <a:solidFill>
                    <a:sysClr val="window" lastClr="FFFFFF"/>
                  </a:solidFill>
                  <a:latin typeface="Segoe UI"/>
                  <a:cs typeface="Segoe UI" pitchFamily="34" charset="0"/>
                </a:rPr>
                <a:t>Targeted advertising</a:t>
              </a:r>
            </a:p>
          </p:txBody>
        </p:sp>
        <p:sp>
          <p:nvSpPr>
            <p:cNvPr id="120" name="Freeform 22"/>
            <p:cNvSpPr>
              <a:spLocks noChangeAspect="1" noEditPoints="1"/>
            </p:cNvSpPr>
            <p:nvPr/>
          </p:nvSpPr>
          <p:spPr bwMode="black">
            <a:xfrm>
              <a:off x="5071839" y="5028815"/>
              <a:ext cx="686366" cy="686185"/>
            </a:xfrm>
            <a:custGeom>
              <a:avLst/>
              <a:gdLst>
                <a:gd name="T0" fmla="*/ 300 w 300"/>
                <a:gd name="T1" fmla="*/ 141 h 300"/>
                <a:gd name="T2" fmla="*/ 285 w 300"/>
                <a:gd name="T3" fmla="*/ 141 h 300"/>
                <a:gd name="T4" fmla="*/ 159 w 300"/>
                <a:gd name="T5" fmla="*/ 15 h 300"/>
                <a:gd name="T6" fmla="*/ 159 w 300"/>
                <a:gd name="T7" fmla="*/ 0 h 300"/>
                <a:gd name="T8" fmla="*/ 141 w 300"/>
                <a:gd name="T9" fmla="*/ 0 h 300"/>
                <a:gd name="T10" fmla="*/ 141 w 300"/>
                <a:gd name="T11" fmla="*/ 15 h 300"/>
                <a:gd name="T12" fmla="*/ 15 w 300"/>
                <a:gd name="T13" fmla="*/ 141 h 300"/>
                <a:gd name="T14" fmla="*/ 0 w 300"/>
                <a:gd name="T15" fmla="*/ 141 h 300"/>
                <a:gd name="T16" fmla="*/ 0 w 300"/>
                <a:gd name="T17" fmla="*/ 159 h 300"/>
                <a:gd name="T18" fmla="*/ 15 w 300"/>
                <a:gd name="T19" fmla="*/ 159 h 300"/>
                <a:gd name="T20" fmla="*/ 141 w 300"/>
                <a:gd name="T21" fmla="*/ 285 h 300"/>
                <a:gd name="T22" fmla="*/ 141 w 300"/>
                <a:gd name="T23" fmla="*/ 300 h 300"/>
                <a:gd name="T24" fmla="*/ 159 w 300"/>
                <a:gd name="T25" fmla="*/ 300 h 300"/>
                <a:gd name="T26" fmla="*/ 159 w 300"/>
                <a:gd name="T27" fmla="*/ 285 h 300"/>
                <a:gd name="T28" fmla="*/ 285 w 300"/>
                <a:gd name="T29" fmla="*/ 159 h 300"/>
                <a:gd name="T30" fmla="*/ 300 w 300"/>
                <a:gd name="T31" fmla="*/ 159 h 300"/>
                <a:gd name="T32" fmla="*/ 300 w 300"/>
                <a:gd name="T33" fmla="*/ 141 h 300"/>
                <a:gd name="T34" fmla="*/ 258 w 300"/>
                <a:gd name="T35" fmla="*/ 141 h 300"/>
                <a:gd name="T36" fmla="*/ 230 w 300"/>
                <a:gd name="T37" fmla="*/ 141 h 300"/>
                <a:gd name="T38" fmla="*/ 159 w 300"/>
                <a:gd name="T39" fmla="*/ 70 h 300"/>
                <a:gd name="T40" fmla="*/ 159 w 300"/>
                <a:gd name="T41" fmla="*/ 42 h 300"/>
                <a:gd name="T42" fmla="*/ 258 w 300"/>
                <a:gd name="T43" fmla="*/ 141 h 300"/>
                <a:gd name="T44" fmla="*/ 141 w 300"/>
                <a:gd name="T45" fmla="*/ 125 h 300"/>
                <a:gd name="T46" fmla="*/ 125 w 300"/>
                <a:gd name="T47" fmla="*/ 141 h 300"/>
                <a:gd name="T48" fmla="*/ 97 w 300"/>
                <a:gd name="T49" fmla="*/ 141 h 300"/>
                <a:gd name="T50" fmla="*/ 141 w 300"/>
                <a:gd name="T51" fmla="*/ 97 h 300"/>
                <a:gd name="T52" fmla="*/ 141 w 300"/>
                <a:gd name="T53" fmla="*/ 125 h 300"/>
                <a:gd name="T54" fmla="*/ 125 w 300"/>
                <a:gd name="T55" fmla="*/ 159 h 300"/>
                <a:gd name="T56" fmla="*/ 141 w 300"/>
                <a:gd name="T57" fmla="*/ 175 h 300"/>
                <a:gd name="T58" fmla="*/ 141 w 300"/>
                <a:gd name="T59" fmla="*/ 203 h 300"/>
                <a:gd name="T60" fmla="*/ 97 w 300"/>
                <a:gd name="T61" fmla="*/ 159 h 300"/>
                <a:gd name="T62" fmla="*/ 125 w 300"/>
                <a:gd name="T63" fmla="*/ 159 h 300"/>
                <a:gd name="T64" fmla="*/ 159 w 300"/>
                <a:gd name="T65" fmla="*/ 175 h 300"/>
                <a:gd name="T66" fmla="*/ 175 w 300"/>
                <a:gd name="T67" fmla="*/ 159 h 300"/>
                <a:gd name="T68" fmla="*/ 203 w 300"/>
                <a:gd name="T69" fmla="*/ 159 h 300"/>
                <a:gd name="T70" fmla="*/ 159 w 300"/>
                <a:gd name="T71" fmla="*/ 203 h 300"/>
                <a:gd name="T72" fmla="*/ 159 w 300"/>
                <a:gd name="T73" fmla="*/ 175 h 300"/>
                <a:gd name="T74" fmla="*/ 175 w 300"/>
                <a:gd name="T75" fmla="*/ 141 h 300"/>
                <a:gd name="T76" fmla="*/ 159 w 300"/>
                <a:gd name="T77" fmla="*/ 125 h 300"/>
                <a:gd name="T78" fmla="*/ 159 w 300"/>
                <a:gd name="T79" fmla="*/ 97 h 300"/>
                <a:gd name="T80" fmla="*/ 203 w 300"/>
                <a:gd name="T81" fmla="*/ 141 h 300"/>
                <a:gd name="T82" fmla="*/ 175 w 300"/>
                <a:gd name="T83" fmla="*/ 141 h 300"/>
                <a:gd name="T84" fmla="*/ 141 w 300"/>
                <a:gd name="T85" fmla="*/ 42 h 300"/>
                <a:gd name="T86" fmla="*/ 141 w 300"/>
                <a:gd name="T87" fmla="*/ 70 h 300"/>
                <a:gd name="T88" fmla="*/ 70 w 300"/>
                <a:gd name="T89" fmla="*/ 141 h 300"/>
                <a:gd name="T90" fmla="*/ 42 w 300"/>
                <a:gd name="T91" fmla="*/ 141 h 300"/>
                <a:gd name="T92" fmla="*/ 141 w 300"/>
                <a:gd name="T93" fmla="*/ 42 h 300"/>
                <a:gd name="T94" fmla="*/ 42 w 300"/>
                <a:gd name="T95" fmla="*/ 159 h 300"/>
                <a:gd name="T96" fmla="*/ 70 w 300"/>
                <a:gd name="T97" fmla="*/ 159 h 300"/>
                <a:gd name="T98" fmla="*/ 141 w 300"/>
                <a:gd name="T99" fmla="*/ 230 h 300"/>
                <a:gd name="T100" fmla="*/ 141 w 300"/>
                <a:gd name="T101" fmla="*/ 258 h 300"/>
                <a:gd name="T102" fmla="*/ 42 w 300"/>
                <a:gd name="T103" fmla="*/ 159 h 300"/>
                <a:gd name="T104" fmla="*/ 159 w 300"/>
                <a:gd name="T105" fmla="*/ 258 h 300"/>
                <a:gd name="T106" fmla="*/ 159 w 300"/>
                <a:gd name="T107" fmla="*/ 230 h 300"/>
                <a:gd name="T108" fmla="*/ 230 w 300"/>
                <a:gd name="T109" fmla="*/ 159 h 300"/>
                <a:gd name="T110" fmla="*/ 258 w 300"/>
                <a:gd name="T111" fmla="*/ 159 h 300"/>
                <a:gd name="T112" fmla="*/ 159 w 300"/>
                <a:gd name="T113" fmla="*/ 25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0" h="300">
                  <a:moveTo>
                    <a:pt x="300" y="141"/>
                  </a:moveTo>
                  <a:cubicBezTo>
                    <a:pt x="285" y="141"/>
                    <a:pt x="285" y="141"/>
                    <a:pt x="285" y="141"/>
                  </a:cubicBezTo>
                  <a:cubicBezTo>
                    <a:pt x="280" y="74"/>
                    <a:pt x="226" y="20"/>
                    <a:pt x="159" y="15"/>
                  </a:cubicBezTo>
                  <a:cubicBezTo>
                    <a:pt x="159" y="0"/>
                    <a:pt x="159" y="0"/>
                    <a:pt x="159" y="0"/>
                  </a:cubicBezTo>
                  <a:cubicBezTo>
                    <a:pt x="141" y="0"/>
                    <a:pt x="141" y="0"/>
                    <a:pt x="141" y="0"/>
                  </a:cubicBezTo>
                  <a:cubicBezTo>
                    <a:pt x="141" y="15"/>
                    <a:pt x="141" y="15"/>
                    <a:pt x="141" y="15"/>
                  </a:cubicBezTo>
                  <a:cubicBezTo>
                    <a:pt x="74" y="20"/>
                    <a:pt x="20" y="74"/>
                    <a:pt x="15" y="141"/>
                  </a:cubicBezTo>
                  <a:cubicBezTo>
                    <a:pt x="0" y="141"/>
                    <a:pt x="0" y="141"/>
                    <a:pt x="0" y="141"/>
                  </a:cubicBezTo>
                  <a:cubicBezTo>
                    <a:pt x="0" y="159"/>
                    <a:pt x="0" y="159"/>
                    <a:pt x="0" y="159"/>
                  </a:cubicBezTo>
                  <a:cubicBezTo>
                    <a:pt x="15" y="159"/>
                    <a:pt x="15" y="159"/>
                    <a:pt x="15" y="159"/>
                  </a:cubicBezTo>
                  <a:cubicBezTo>
                    <a:pt x="20" y="226"/>
                    <a:pt x="74" y="280"/>
                    <a:pt x="141" y="285"/>
                  </a:cubicBezTo>
                  <a:cubicBezTo>
                    <a:pt x="141" y="300"/>
                    <a:pt x="141" y="300"/>
                    <a:pt x="141" y="300"/>
                  </a:cubicBezTo>
                  <a:cubicBezTo>
                    <a:pt x="159" y="300"/>
                    <a:pt x="159" y="300"/>
                    <a:pt x="159" y="300"/>
                  </a:cubicBezTo>
                  <a:cubicBezTo>
                    <a:pt x="159" y="285"/>
                    <a:pt x="159" y="285"/>
                    <a:pt x="159" y="285"/>
                  </a:cubicBezTo>
                  <a:cubicBezTo>
                    <a:pt x="226" y="280"/>
                    <a:pt x="280" y="226"/>
                    <a:pt x="285" y="159"/>
                  </a:cubicBezTo>
                  <a:cubicBezTo>
                    <a:pt x="300" y="159"/>
                    <a:pt x="300" y="159"/>
                    <a:pt x="300" y="159"/>
                  </a:cubicBezTo>
                  <a:lnTo>
                    <a:pt x="300" y="141"/>
                  </a:lnTo>
                  <a:close/>
                  <a:moveTo>
                    <a:pt x="258" y="141"/>
                  </a:moveTo>
                  <a:cubicBezTo>
                    <a:pt x="230" y="141"/>
                    <a:pt x="230" y="141"/>
                    <a:pt x="230" y="141"/>
                  </a:cubicBezTo>
                  <a:cubicBezTo>
                    <a:pt x="226" y="103"/>
                    <a:pt x="197" y="74"/>
                    <a:pt x="159" y="70"/>
                  </a:cubicBezTo>
                  <a:cubicBezTo>
                    <a:pt x="159" y="42"/>
                    <a:pt x="159" y="42"/>
                    <a:pt x="159" y="42"/>
                  </a:cubicBezTo>
                  <a:cubicBezTo>
                    <a:pt x="211" y="47"/>
                    <a:pt x="253" y="89"/>
                    <a:pt x="258" y="141"/>
                  </a:cubicBezTo>
                  <a:close/>
                  <a:moveTo>
                    <a:pt x="141" y="125"/>
                  </a:moveTo>
                  <a:cubicBezTo>
                    <a:pt x="133" y="127"/>
                    <a:pt x="127" y="133"/>
                    <a:pt x="125" y="141"/>
                  </a:cubicBezTo>
                  <a:cubicBezTo>
                    <a:pt x="97" y="141"/>
                    <a:pt x="97" y="141"/>
                    <a:pt x="97" y="141"/>
                  </a:cubicBezTo>
                  <a:cubicBezTo>
                    <a:pt x="101" y="118"/>
                    <a:pt x="118" y="101"/>
                    <a:pt x="141" y="97"/>
                  </a:cubicBezTo>
                  <a:lnTo>
                    <a:pt x="141" y="125"/>
                  </a:lnTo>
                  <a:close/>
                  <a:moveTo>
                    <a:pt x="125" y="159"/>
                  </a:moveTo>
                  <a:cubicBezTo>
                    <a:pt x="127" y="167"/>
                    <a:pt x="133" y="173"/>
                    <a:pt x="141" y="175"/>
                  </a:cubicBezTo>
                  <a:cubicBezTo>
                    <a:pt x="141" y="203"/>
                    <a:pt x="141" y="203"/>
                    <a:pt x="141" y="203"/>
                  </a:cubicBezTo>
                  <a:cubicBezTo>
                    <a:pt x="118" y="199"/>
                    <a:pt x="101" y="182"/>
                    <a:pt x="97" y="159"/>
                  </a:cubicBezTo>
                  <a:lnTo>
                    <a:pt x="125" y="159"/>
                  </a:lnTo>
                  <a:close/>
                  <a:moveTo>
                    <a:pt x="159" y="175"/>
                  </a:moveTo>
                  <a:cubicBezTo>
                    <a:pt x="167" y="173"/>
                    <a:pt x="173" y="167"/>
                    <a:pt x="175" y="159"/>
                  </a:cubicBezTo>
                  <a:cubicBezTo>
                    <a:pt x="203" y="159"/>
                    <a:pt x="203" y="159"/>
                    <a:pt x="203" y="159"/>
                  </a:cubicBezTo>
                  <a:cubicBezTo>
                    <a:pt x="199" y="182"/>
                    <a:pt x="182" y="199"/>
                    <a:pt x="159" y="203"/>
                  </a:cubicBezTo>
                  <a:lnTo>
                    <a:pt x="159" y="175"/>
                  </a:lnTo>
                  <a:close/>
                  <a:moveTo>
                    <a:pt x="175" y="141"/>
                  </a:moveTo>
                  <a:cubicBezTo>
                    <a:pt x="173" y="133"/>
                    <a:pt x="167" y="127"/>
                    <a:pt x="159" y="125"/>
                  </a:cubicBezTo>
                  <a:cubicBezTo>
                    <a:pt x="159" y="97"/>
                    <a:pt x="159" y="97"/>
                    <a:pt x="159" y="97"/>
                  </a:cubicBezTo>
                  <a:cubicBezTo>
                    <a:pt x="182" y="101"/>
                    <a:pt x="199" y="118"/>
                    <a:pt x="203" y="141"/>
                  </a:cubicBezTo>
                  <a:lnTo>
                    <a:pt x="175" y="141"/>
                  </a:lnTo>
                  <a:close/>
                  <a:moveTo>
                    <a:pt x="141" y="42"/>
                  </a:moveTo>
                  <a:cubicBezTo>
                    <a:pt x="141" y="70"/>
                    <a:pt x="141" y="70"/>
                    <a:pt x="141" y="70"/>
                  </a:cubicBezTo>
                  <a:cubicBezTo>
                    <a:pt x="103" y="74"/>
                    <a:pt x="74" y="103"/>
                    <a:pt x="70" y="141"/>
                  </a:cubicBezTo>
                  <a:cubicBezTo>
                    <a:pt x="42" y="141"/>
                    <a:pt x="42" y="141"/>
                    <a:pt x="42" y="141"/>
                  </a:cubicBezTo>
                  <a:cubicBezTo>
                    <a:pt x="47" y="89"/>
                    <a:pt x="89" y="47"/>
                    <a:pt x="141" y="42"/>
                  </a:cubicBezTo>
                  <a:close/>
                  <a:moveTo>
                    <a:pt x="42" y="159"/>
                  </a:moveTo>
                  <a:cubicBezTo>
                    <a:pt x="70" y="159"/>
                    <a:pt x="70" y="159"/>
                    <a:pt x="70" y="159"/>
                  </a:cubicBezTo>
                  <a:cubicBezTo>
                    <a:pt x="74" y="197"/>
                    <a:pt x="103" y="226"/>
                    <a:pt x="141" y="230"/>
                  </a:cubicBezTo>
                  <a:cubicBezTo>
                    <a:pt x="141" y="258"/>
                    <a:pt x="141" y="258"/>
                    <a:pt x="141" y="258"/>
                  </a:cubicBezTo>
                  <a:cubicBezTo>
                    <a:pt x="89" y="253"/>
                    <a:pt x="47" y="211"/>
                    <a:pt x="42" y="159"/>
                  </a:cubicBezTo>
                  <a:close/>
                  <a:moveTo>
                    <a:pt x="159" y="258"/>
                  </a:moveTo>
                  <a:cubicBezTo>
                    <a:pt x="159" y="230"/>
                    <a:pt x="159" y="230"/>
                    <a:pt x="159" y="230"/>
                  </a:cubicBezTo>
                  <a:cubicBezTo>
                    <a:pt x="197" y="226"/>
                    <a:pt x="226" y="197"/>
                    <a:pt x="230" y="159"/>
                  </a:cubicBezTo>
                  <a:cubicBezTo>
                    <a:pt x="258" y="159"/>
                    <a:pt x="258" y="159"/>
                    <a:pt x="258" y="159"/>
                  </a:cubicBezTo>
                  <a:cubicBezTo>
                    <a:pt x="253" y="211"/>
                    <a:pt x="211" y="253"/>
                    <a:pt x="159" y="2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7" tIns="40344" rIns="80687" bIns="40344" numCol="1" anchor="t" anchorCtr="0" compatLnSpc="1">
              <a:prstTxWarp prst="textNoShape">
                <a:avLst/>
              </a:prstTxWarp>
            </a:bodyPr>
            <a:lstStyle/>
            <a:p>
              <a:pPr defTabSz="914367"/>
              <a:endParaRPr lang="en-US" sz="1568" dirty="0">
                <a:solidFill>
                  <a:srgbClr val="00B0F0"/>
                </a:solidFill>
                <a:latin typeface="Segoe UI"/>
              </a:endParaRPr>
            </a:p>
          </p:txBody>
        </p:sp>
      </p:grpSp>
      <p:grpSp>
        <p:nvGrpSpPr>
          <p:cNvPr id="21" name="Group 20"/>
          <p:cNvGrpSpPr/>
          <p:nvPr/>
        </p:nvGrpSpPr>
        <p:grpSpPr>
          <a:xfrm>
            <a:off x="4562362" y="3130192"/>
            <a:ext cx="1487328" cy="1487329"/>
            <a:chOff x="4653846" y="3192462"/>
            <a:chExt cx="1517152" cy="1517153"/>
          </a:xfrm>
        </p:grpSpPr>
        <p:sp>
          <p:nvSpPr>
            <p:cNvPr id="89" name="Rectangle 88"/>
            <p:cNvSpPr/>
            <p:nvPr/>
          </p:nvSpPr>
          <p:spPr bwMode="auto">
            <a:xfrm>
              <a:off x="4653846" y="3192462"/>
              <a:ext cx="1517152" cy="151715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b" anchorCtr="0" forceAA="0" compatLnSpc="1">
              <a:prstTxWarp prst="textNoShape">
                <a:avLst/>
              </a:prstTxWarp>
              <a:noAutofit/>
            </a:bodyPr>
            <a:lstStyle/>
            <a:p>
              <a:pPr defTabSz="914102" fontAlgn="base">
                <a:lnSpc>
                  <a:spcPct val="90000"/>
                </a:lnSpc>
                <a:spcBef>
                  <a:spcPct val="0"/>
                </a:spcBef>
                <a:spcAft>
                  <a:spcPct val="0"/>
                </a:spcAft>
              </a:pPr>
              <a:r>
                <a:rPr lang="en-US" sz="1372" kern="0" dirty="0">
                  <a:solidFill>
                    <a:sysClr val="window" lastClr="FFFFFF"/>
                  </a:solidFill>
                  <a:latin typeface="Segoe UI"/>
                  <a:cs typeface="Segoe UI" pitchFamily="34" charset="0"/>
                </a:rPr>
                <a:t>Natural resource exploration</a:t>
              </a:r>
            </a:p>
          </p:txBody>
        </p:sp>
        <p:grpSp>
          <p:nvGrpSpPr>
            <p:cNvPr id="121" name="Group 18"/>
            <p:cNvGrpSpPr>
              <a:grpSpLocks noChangeAspect="1"/>
            </p:cNvGrpSpPr>
            <p:nvPr/>
          </p:nvGrpSpPr>
          <p:grpSpPr bwMode="auto">
            <a:xfrm>
              <a:off x="5200215" y="3454698"/>
              <a:ext cx="499273" cy="660101"/>
              <a:chOff x="7708" y="496"/>
              <a:chExt cx="714" cy="944"/>
            </a:xfrm>
            <a:solidFill>
              <a:schemeClr val="bg1"/>
            </a:solidFill>
          </p:grpSpPr>
          <p:sp>
            <p:nvSpPr>
              <p:cNvPr id="122" name="Freeform 19"/>
              <p:cNvSpPr>
                <a:spLocks noEditPoints="1"/>
              </p:cNvSpPr>
              <p:nvPr/>
            </p:nvSpPr>
            <p:spPr bwMode="auto">
              <a:xfrm>
                <a:off x="8065" y="496"/>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50"/>
                <a:endParaRPr lang="en-US" sz="1667" dirty="0">
                  <a:solidFill>
                    <a:srgbClr val="FFFFFF"/>
                  </a:solidFill>
                  <a:latin typeface="Segoe UI"/>
                </a:endParaRPr>
              </a:p>
            </p:txBody>
          </p:sp>
          <p:sp>
            <p:nvSpPr>
              <p:cNvPr id="123" name="Freeform 20"/>
              <p:cNvSpPr>
                <a:spLocks/>
              </p:cNvSpPr>
              <p:nvPr/>
            </p:nvSpPr>
            <p:spPr bwMode="auto">
              <a:xfrm>
                <a:off x="7708" y="496"/>
                <a:ext cx="714" cy="944"/>
              </a:xfrm>
              <a:custGeom>
                <a:avLst/>
                <a:gdLst>
                  <a:gd name="T0" fmla="*/ 151 w 302"/>
                  <a:gd name="T1" fmla="*/ 0 h 400"/>
                  <a:gd name="T2" fmla="*/ 258 w 302"/>
                  <a:gd name="T3" fmla="*/ 221 h 400"/>
                  <a:gd name="T4" fmla="*/ 151 w 302"/>
                  <a:gd name="T5" fmla="*/ 400 h 400"/>
                  <a:gd name="T6" fmla="*/ 44 w 302"/>
                  <a:gd name="T7" fmla="*/ 221 h 400"/>
                  <a:gd name="T8" fmla="*/ 151 w 302"/>
                  <a:gd name="T9" fmla="*/ 0 h 400"/>
                </a:gdLst>
                <a:ahLst/>
                <a:cxnLst>
                  <a:cxn ang="0">
                    <a:pos x="T0" y="T1"/>
                  </a:cxn>
                  <a:cxn ang="0">
                    <a:pos x="T2" y="T3"/>
                  </a:cxn>
                  <a:cxn ang="0">
                    <a:pos x="T4" y="T5"/>
                  </a:cxn>
                  <a:cxn ang="0">
                    <a:pos x="T6" y="T7"/>
                  </a:cxn>
                  <a:cxn ang="0">
                    <a:pos x="T8" y="T9"/>
                  </a:cxn>
                </a:cxnLst>
                <a:rect l="0" t="0" r="r" b="b"/>
                <a:pathLst>
                  <a:path w="302" h="400">
                    <a:moveTo>
                      <a:pt x="151" y="0"/>
                    </a:moveTo>
                    <a:cubicBezTo>
                      <a:pt x="177" y="95"/>
                      <a:pt x="213" y="129"/>
                      <a:pt x="258" y="221"/>
                    </a:cubicBezTo>
                    <a:cubicBezTo>
                      <a:pt x="302" y="310"/>
                      <a:pt x="237" y="400"/>
                      <a:pt x="151" y="400"/>
                    </a:cubicBezTo>
                    <a:cubicBezTo>
                      <a:pt x="65" y="400"/>
                      <a:pt x="0" y="310"/>
                      <a:pt x="44" y="221"/>
                    </a:cubicBezTo>
                    <a:cubicBezTo>
                      <a:pt x="89" y="129"/>
                      <a:pt x="125" y="95"/>
                      <a:pt x="15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50"/>
                <a:endParaRPr lang="en-US" sz="1667" dirty="0">
                  <a:solidFill>
                    <a:srgbClr val="FFFFFF"/>
                  </a:solidFill>
                  <a:latin typeface="Segoe UI"/>
                </a:endParaRPr>
              </a:p>
            </p:txBody>
          </p:sp>
        </p:grpSp>
      </p:grpSp>
      <p:grpSp>
        <p:nvGrpSpPr>
          <p:cNvPr id="24" name="Group 23"/>
          <p:cNvGrpSpPr/>
          <p:nvPr/>
        </p:nvGrpSpPr>
        <p:grpSpPr>
          <a:xfrm>
            <a:off x="1402464" y="4698936"/>
            <a:ext cx="1487328" cy="1487329"/>
            <a:chOff x="1430586" y="4792662"/>
            <a:chExt cx="1517152" cy="1517153"/>
          </a:xfrm>
        </p:grpSpPr>
        <p:sp>
          <p:nvSpPr>
            <p:cNvPr id="97" name="Rectangle 96"/>
            <p:cNvSpPr/>
            <p:nvPr/>
          </p:nvSpPr>
          <p:spPr bwMode="auto">
            <a:xfrm>
              <a:off x="1430586" y="4792662"/>
              <a:ext cx="1517152" cy="151715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b" anchorCtr="0" forceAA="0" compatLnSpc="1">
              <a:prstTxWarp prst="textNoShape">
                <a:avLst/>
              </a:prstTxWarp>
              <a:noAutofit/>
            </a:bodyPr>
            <a:lstStyle/>
            <a:p>
              <a:pPr defTabSz="914102" fontAlgn="base">
                <a:lnSpc>
                  <a:spcPct val="90000"/>
                </a:lnSpc>
                <a:spcBef>
                  <a:spcPct val="0"/>
                </a:spcBef>
                <a:spcAft>
                  <a:spcPct val="0"/>
                </a:spcAft>
              </a:pPr>
              <a:r>
                <a:rPr lang="en-US" sz="1372" kern="0" dirty="0">
                  <a:solidFill>
                    <a:sysClr val="window" lastClr="FFFFFF"/>
                  </a:solidFill>
                  <a:latin typeface="Segoe UI"/>
                  <a:cs typeface="Segoe UI" pitchFamily="34" charset="0"/>
                </a:rPr>
                <a:t>Fraud </a:t>
              </a:r>
              <a:br>
                <a:rPr lang="en-US" sz="1372" kern="0" dirty="0">
                  <a:solidFill>
                    <a:sysClr val="window" lastClr="FFFFFF"/>
                  </a:solidFill>
                  <a:latin typeface="Segoe UI"/>
                  <a:cs typeface="Segoe UI" pitchFamily="34" charset="0"/>
                </a:rPr>
              </a:br>
              <a:r>
                <a:rPr lang="en-US" sz="1372" kern="0" dirty="0">
                  <a:solidFill>
                    <a:sysClr val="window" lastClr="FFFFFF"/>
                  </a:solidFill>
                  <a:latin typeface="Segoe UI"/>
                  <a:cs typeface="Segoe UI" pitchFamily="34" charset="0"/>
                </a:rPr>
                <a:t>detection</a:t>
              </a:r>
            </a:p>
          </p:txBody>
        </p:sp>
        <p:sp>
          <p:nvSpPr>
            <p:cNvPr id="124" name="Freeform 30"/>
            <p:cNvSpPr>
              <a:spLocks noChangeAspect="1" noEditPoints="1"/>
            </p:cNvSpPr>
            <p:nvPr/>
          </p:nvSpPr>
          <p:spPr bwMode="auto">
            <a:xfrm>
              <a:off x="1863236" y="5028815"/>
              <a:ext cx="604378" cy="711585"/>
            </a:xfrm>
            <a:custGeom>
              <a:avLst/>
              <a:gdLst>
                <a:gd name="T0" fmla="*/ 115 w 191"/>
                <a:gd name="T1" fmla="*/ 158 h 225"/>
                <a:gd name="T2" fmla="*/ 132 w 191"/>
                <a:gd name="T3" fmla="*/ 185 h 225"/>
                <a:gd name="T4" fmla="*/ 21 w 191"/>
                <a:gd name="T5" fmla="*/ 185 h 225"/>
                <a:gd name="T6" fmla="*/ 0 w 191"/>
                <a:gd name="T7" fmla="*/ 164 h 225"/>
                <a:gd name="T8" fmla="*/ 0 w 191"/>
                <a:gd name="T9" fmla="*/ 21 h 225"/>
                <a:gd name="T10" fmla="*/ 21 w 191"/>
                <a:gd name="T11" fmla="*/ 0 h 225"/>
                <a:gd name="T12" fmla="*/ 163 w 191"/>
                <a:gd name="T13" fmla="*/ 0 h 225"/>
                <a:gd name="T14" fmla="*/ 185 w 191"/>
                <a:gd name="T15" fmla="*/ 21 h 225"/>
                <a:gd name="T16" fmla="*/ 185 w 191"/>
                <a:gd name="T17" fmla="*/ 164 h 225"/>
                <a:gd name="T18" fmla="*/ 181 w 191"/>
                <a:gd name="T19" fmla="*/ 175 h 225"/>
                <a:gd name="T20" fmla="*/ 154 w 191"/>
                <a:gd name="T21" fmla="*/ 133 h 225"/>
                <a:gd name="T22" fmla="*/ 157 w 191"/>
                <a:gd name="T23" fmla="*/ 63 h 225"/>
                <a:gd name="T24" fmla="*/ 70 w 191"/>
                <a:gd name="T25" fmla="*/ 43 h 225"/>
                <a:gd name="T26" fmla="*/ 51 w 191"/>
                <a:gd name="T27" fmla="*/ 130 h 225"/>
                <a:gd name="T28" fmla="*/ 115 w 191"/>
                <a:gd name="T29" fmla="*/ 158 h 225"/>
                <a:gd name="T30" fmla="*/ 183 w 191"/>
                <a:gd name="T31" fmla="*/ 221 h 225"/>
                <a:gd name="T32" fmla="*/ 165 w 191"/>
                <a:gd name="T33" fmla="*/ 217 h 225"/>
                <a:gd name="T34" fmla="*/ 120 w 191"/>
                <a:gd name="T35" fmla="*/ 146 h 225"/>
                <a:gd name="T36" fmla="*/ 59 w 191"/>
                <a:gd name="T37" fmla="*/ 124 h 225"/>
                <a:gd name="T38" fmla="*/ 75 w 191"/>
                <a:gd name="T39" fmla="*/ 52 h 225"/>
                <a:gd name="T40" fmla="*/ 148 w 191"/>
                <a:gd name="T41" fmla="*/ 68 h 225"/>
                <a:gd name="T42" fmla="*/ 142 w 191"/>
                <a:gd name="T43" fmla="*/ 132 h 225"/>
                <a:gd name="T44" fmla="*/ 187 w 191"/>
                <a:gd name="T45" fmla="*/ 203 h 225"/>
                <a:gd name="T46" fmla="*/ 183 w 191"/>
                <a:gd name="T47" fmla="*/ 221 h 225"/>
                <a:gd name="T48" fmla="*/ 144 w 191"/>
                <a:gd name="T49" fmla="*/ 71 h 225"/>
                <a:gd name="T50" fmla="*/ 78 w 191"/>
                <a:gd name="T51" fmla="*/ 56 h 225"/>
                <a:gd name="T52" fmla="*/ 64 w 191"/>
                <a:gd name="T53" fmla="*/ 122 h 225"/>
                <a:gd name="T54" fmla="*/ 129 w 191"/>
                <a:gd name="T55" fmla="*/ 136 h 225"/>
                <a:gd name="T56" fmla="*/ 144 w 191"/>
                <a:gd name="T57" fmla="*/ 7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1" h="225">
                  <a:moveTo>
                    <a:pt x="115" y="158"/>
                  </a:moveTo>
                  <a:cubicBezTo>
                    <a:pt x="132" y="185"/>
                    <a:pt x="132" y="185"/>
                    <a:pt x="132" y="185"/>
                  </a:cubicBezTo>
                  <a:cubicBezTo>
                    <a:pt x="21" y="185"/>
                    <a:pt x="21" y="185"/>
                    <a:pt x="21" y="185"/>
                  </a:cubicBezTo>
                  <a:cubicBezTo>
                    <a:pt x="9" y="185"/>
                    <a:pt x="0" y="175"/>
                    <a:pt x="0" y="164"/>
                  </a:cubicBezTo>
                  <a:cubicBezTo>
                    <a:pt x="0" y="21"/>
                    <a:pt x="0" y="21"/>
                    <a:pt x="0" y="21"/>
                  </a:cubicBezTo>
                  <a:cubicBezTo>
                    <a:pt x="0" y="9"/>
                    <a:pt x="9" y="0"/>
                    <a:pt x="21" y="0"/>
                  </a:cubicBezTo>
                  <a:cubicBezTo>
                    <a:pt x="163" y="0"/>
                    <a:pt x="163" y="0"/>
                    <a:pt x="163" y="0"/>
                  </a:cubicBezTo>
                  <a:cubicBezTo>
                    <a:pt x="175" y="0"/>
                    <a:pt x="185" y="9"/>
                    <a:pt x="185" y="21"/>
                  </a:cubicBezTo>
                  <a:cubicBezTo>
                    <a:pt x="185" y="164"/>
                    <a:pt x="185" y="164"/>
                    <a:pt x="185" y="164"/>
                  </a:cubicBezTo>
                  <a:cubicBezTo>
                    <a:pt x="185" y="168"/>
                    <a:pt x="183" y="172"/>
                    <a:pt x="181" y="175"/>
                  </a:cubicBezTo>
                  <a:cubicBezTo>
                    <a:pt x="154" y="133"/>
                    <a:pt x="154" y="133"/>
                    <a:pt x="154" y="133"/>
                  </a:cubicBezTo>
                  <a:cubicBezTo>
                    <a:pt x="169" y="112"/>
                    <a:pt x="170" y="84"/>
                    <a:pt x="157" y="63"/>
                  </a:cubicBezTo>
                  <a:cubicBezTo>
                    <a:pt x="138" y="33"/>
                    <a:pt x="99" y="25"/>
                    <a:pt x="70" y="43"/>
                  </a:cubicBezTo>
                  <a:cubicBezTo>
                    <a:pt x="41" y="62"/>
                    <a:pt x="32" y="101"/>
                    <a:pt x="51" y="130"/>
                  </a:cubicBezTo>
                  <a:cubicBezTo>
                    <a:pt x="65" y="152"/>
                    <a:pt x="90" y="163"/>
                    <a:pt x="115" y="158"/>
                  </a:cubicBezTo>
                  <a:close/>
                  <a:moveTo>
                    <a:pt x="183" y="221"/>
                  </a:moveTo>
                  <a:cubicBezTo>
                    <a:pt x="177" y="225"/>
                    <a:pt x="169" y="223"/>
                    <a:pt x="165" y="217"/>
                  </a:cubicBezTo>
                  <a:cubicBezTo>
                    <a:pt x="120" y="146"/>
                    <a:pt x="120" y="146"/>
                    <a:pt x="120" y="146"/>
                  </a:cubicBezTo>
                  <a:cubicBezTo>
                    <a:pt x="98" y="153"/>
                    <a:pt x="72" y="145"/>
                    <a:pt x="59" y="124"/>
                  </a:cubicBezTo>
                  <a:cubicBezTo>
                    <a:pt x="44" y="100"/>
                    <a:pt x="51" y="67"/>
                    <a:pt x="75" y="52"/>
                  </a:cubicBezTo>
                  <a:cubicBezTo>
                    <a:pt x="100" y="36"/>
                    <a:pt x="132" y="44"/>
                    <a:pt x="148" y="68"/>
                  </a:cubicBezTo>
                  <a:cubicBezTo>
                    <a:pt x="161" y="89"/>
                    <a:pt x="158" y="115"/>
                    <a:pt x="142" y="132"/>
                  </a:cubicBezTo>
                  <a:cubicBezTo>
                    <a:pt x="187" y="203"/>
                    <a:pt x="187" y="203"/>
                    <a:pt x="187" y="203"/>
                  </a:cubicBezTo>
                  <a:cubicBezTo>
                    <a:pt x="191" y="209"/>
                    <a:pt x="189" y="217"/>
                    <a:pt x="183" y="221"/>
                  </a:cubicBezTo>
                  <a:close/>
                  <a:moveTo>
                    <a:pt x="144" y="71"/>
                  </a:moveTo>
                  <a:cubicBezTo>
                    <a:pt x="129" y="49"/>
                    <a:pt x="100" y="42"/>
                    <a:pt x="78" y="56"/>
                  </a:cubicBezTo>
                  <a:cubicBezTo>
                    <a:pt x="56" y="70"/>
                    <a:pt x="50" y="100"/>
                    <a:pt x="64" y="122"/>
                  </a:cubicBezTo>
                  <a:cubicBezTo>
                    <a:pt x="78" y="144"/>
                    <a:pt x="107" y="150"/>
                    <a:pt x="129" y="136"/>
                  </a:cubicBezTo>
                  <a:cubicBezTo>
                    <a:pt x="151" y="122"/>
                    <a:pt x="158" y="93"/>
                    <a:pt x="144" y="71"/>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896175"/>
              <a:endParaRPr lang="en-US" sz="1667" dirty="0">
                <a:solidFill>
                  <a:srgbClr val="000000"/>
                </a:solidFill>
                <a:latin typeface="Segoe UI"/>
              </a:endParaRPr>
            </a:p>
          </p:txBody>
        </p:sp>
      </p:grpSp>
      <p:grpSp>
        <p:nvGrpSpPr>
          <p:cNvPr id="12" name="Group 11"/>
          <p:cNvGrpSpPr/>
          <p:nvPr/>
        </p:nvGrpSpPr>
        <p:grpSpPr>
          <a:xfrm>
            <a:off x="2982413" y="1561449"/>
            <a:ext cx="1487328" cy="1487329"/>
            <a:chOff x="3042216" y="1592262"/>
            <a:chExt cx="1517152" cy="1517153"/>
          </a:xfrm>
        </p:grpSpPr>
        <p:sp>
          <p:nvSpPr>
            <p:cNvPr id="60" name="Rectangle 59"/>
            <p:cNvSpPr/>
            <p:nvPr/>
          </p:nvSpPr>
          <p:spPr bwMode="auto">
            <a:xfrm>
              <a:off x="3042216" y="1592262"/>
              <a:ext cx="1517152" cy="151715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b" anchorCtr="0" forceAA="0" compatLnSpc="1">
              <a:prstTxWarp prst="textNoShape">
                <a:avLst/>
              </a:prstTxWarp>
              <a:noAutofit/>
            </a:bodyPr>
            <a:lstStyle/>
            <a:p>
              <a:pPr defTabSz="914102" fontAlgn="base">
                <a:lnSpc>
                  <a:spcPct val="90000"/>
                </a:lnSpc>
                <a:spcBef>
                  <a:spcPct val="0"/>
                </a:spcBef>
                <a:spcAft>
                  <a:spcPct val="0"/>
                </a:spcAft>
              </a:pPr>
              <a:r>
                <a:rPr lang="en-US" sz="1372" kern="0" dirty="0">
                  <a:solidFill>
                    <a:sysClr val="window" lastClr="FFFFFF"/>
                  </a:solidFill>
                  <a:latin typeface="Segoe UI"/>
                  <a:cs typeface="Segoe UI" pitchFamily="34" charset="0"/>
                </a:rPr>
                <a:t>Telemetry data analysis</a:t>
              </a:r>
            </a:p>
          </p:txBody>
        </p:sp>
        <p:sp>
          <p:nvSpPr>
            <p:cNvPr id="138" name="Freeform 346"/>
            <p:cNvSpPr>
              <a:spLocks noChangeAspect="1" noEditPoints="1"/>
            </p:cNvSpPr>
            <p:nvPr/>
          </p:nvSpPr>
          <p:spPr bwMode="auto">
            <a:xfrm>
              <a:off x="3312577" y="1899278"/>
              <a:ext cx="913857" cy="567222"/>
            </a:xfrm>
            <a:custGeom>
              <a:avLst/>
              <a:gdLst>
                <a:gd name="T0" fmla="*/ 0 w 319"/>
                <a:gd name="T1" fmla="*/ 122 h 198"/>
                <a:gd name="T2" fmla="*/ 50 w 319"/>
                <a:gd name="T3" fmla="*/ 122 h 198"/>
                <a:gd name="T4" fmla="*/ 50 w 319"/>
                <a:gd name="T5" fmla="*/ 198 h 198"/>
                <a:gd name="T6" fmla="*/ 0 w 319"/>
                <a:gd name="T7" fmla="*/ 198 h 198"/>
                <a:gd name="T8" fmla="*/ 0 w 319"/>
                <a:gd name="T9" fmla="*/ 122 h 198"/>
                <a:gd name="T10" fmla="*/ 69 w 319"/>
                <a:gd name="T11" fmla="*/ 198 h 198"/>
                <a:gd name="T12" fmla="*/ 119 w 319"/>
                <a:gd name="T13" fmla="*/ 198 h 198"/>
                <a:gd name="T14" fmla="*/ 119 w 319"/>
                <a:gd name="T15" fmla="*/ 28 h 198"/>
                <a:gd name="T16" fmla="*/ 69 w 319"/>
                <a:gd name="T17" fmla="*/ 28 h 198"/>
                <a:gd name="T18" fmla="*/ 69 w 319"/>
                <a:gd name="T19" fmla="*/ 198 h 198"/>
                <a:gd name="T20" fmla="*/ 135 w 319"/>
                <a:gd name="T21" fmla="*/ 198 h 198"/>
                <a:gd name="T22" fmla="*/ 185 w 319"/>
                <a:gd name="T23" fmla="*/ 198 h 198"/>
                <a:gd name="T24" fmla="*/ 185 w 319"/>
                <a:gd name="T25" fmla="*/ 59 h 198"/>
                <a:gd name="T26" fmla="*/ 135 w 319"/>
                <a:gd name="T27" fmla="*/ 59 h 198"/>
                <a:gd name="T28" fmla="*/ 135 w 319"/>
                <a:gd name="T29" fmla="*/ 198 h 198"/>
                <a:gd name="T30" fmla="*/ 201 w 319"/>
                <a:gd name="T31" fmla="*/ 198 h 198"/>
                <a:gd name="T32" fmla="*/ 251 w 319"/>
                <a:gd name="T33" fmla="*/ 198 h 198"/>
                <a:gd name="T34" fmla="*/ 251 w 319"/>
                <a:gd name="T35" fmla="*/ 151 h 198"/>
                <a:gd name="T36" fmla="*/ 201 w 319"/>
                <a:gd name="T37" fmla="*/ 151 h 198"/>
                <a:gd name="T38" fmla="*/ 201 w 319"/>
                <a:gd name="T39" fmla="*/ 198 h 198"/>
                <a:gd name="T40" fmla="*/ 270 w 319"/>
                <a:gd name="T41" fmla="*/ 198 h 198"/>
                <a:gd name="T42" fmla="*/ 319 w 319"/>
                <a:gd name="T43" fmla="*/ 198 h 198"/>
                <a:gd name="T44" fmla="*/ 319 w 319"/>
                <a:gd name="T45" fmla="*/ 0 h 198"/>
                <a:gd name="T46" fmla="*/ 270 w 319"/>
                <a:gd name="T47" fmla="*/ 0 h 198"/>
                <a:gd name="T48" fmla="*/ 270 w 319"/>
                <a:gd name="T49"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9" h="198">
                  <a:moveTo>
                    <a:pt x="0" y="122"/>
                  </a:moveTo>
                  <a:lnTo>
                    <a:pt x="50" y="122"/>
                  </a:lnTo>
                  <a:lnTo>
                    <a:pt x="50" y="198"/>
                  </a:lnTo>
                  <a:lnTo>
                    <a:pt x="0" y="198"/>
                  </a:lnTo>
                  <a:lnTo>
                    <a:pt x="0" y="122"/>
                  </a:lnTo>
                  <a:close/>
                  <a:moveTo>
                    <a:pt x="69" y="198"/>
                  </a:moveTo>
                  <a:lnTo>
                    <a:pt x="119" y="198"/>
                  </a:lnTo>
                  <a:lnTo>
                    <a:pt x="119" y="28"/>
                  </a:lnTo>
                  <a:lnTo>
                    <a:pt x="69" y="28"/>
                  </a:lnTo>
                  <a:lnTo>
                    <a:pt x="69" y="198"/>
                  </a:lnTo>
                  <a:close/>
                  <a:moveTo>
                    <a:pt x="135" y="198"/>
                  </a:moveTo>
                  <a:lnTo>
                    <a:pt x="185" y="198"/>
                  </a:lnTo>
                  <a:lnTo>
                    <a:pt x="185" y="59"/>
                  </a:lnTo>
                  <a:lnTo>
                    <a:pt x="135" y="59"/>
                  </a:lnTo>
                  <a:lnTo>
                    <a:pt x="135" y="198"/>
                  </a:lnTo>
                  <a:close/>
                  <a:moveTo>
                    <a:pt x="201" y="198"/>
                  </a:moveTo>
                  <a:lnTo>
                    <a:pt x="251" y="198"/>
                  </a:lnTo>
                  <a:lnTo>
                    <a:pt x="251" y="151"/>
                  </a:lnTo>
                  <a:lnTo>
                    <a:pt x="201" y="151"/>
                  </a:lnTo>
                  <a:lnTo>
                    <a:pt x="201" y="198"/>
                  </a:lnTo>
                  <a:close/>
                  <a:moveTo>
                    <a:pt x="270" y="198"/>
                  </a:moveTo>
                  <a:lnTo>
                    <a:pt x="319" y="198"/>
                  </a:lnTo>
                  <a:lnTo>
                    <a:pt x="319" y="0"/>
                  </a:lnTo>
                  <a:lnTo>
                    <a:pt x="270" y="0"/>
                  </a:lnTo>
                  <a:lnTo>
                    <a:pt x="270" y="198"/>
                  </a:lnTo>
                  <a:close/>
                </a:path>
              </a:pathLst>
            </a:custGeom>
            <a:solidFill>
              <a:schemeClr val="bg1"/>
            </a:solidFill>
            <a:ln>
              <a:noFill/>
            </a:ln>
            <a:extLst/>
          </p:spPr>
          <p:txBody>
            <a:bodyPr vert="horz" wrap="square" lIns="89642" tIns="44821" rIns="89642" bIns="44821" numCol="1" anchor="t" anchorCtr="0" compatLnSpc="1">
              <a:prstTxWarp prst="textNoShape">
                <a:avLst/>
              </a:prstTxWarp>
            </a:bodyPr>
            <a:lstStyle/>
            <a:p>
              <a:pPr defTabSz="914367"/>
              <a:endParaRPr lang="en-US" sz="1765" dirty="0">
                <a:solidFill>
                  <a:srgbClr val="00B0F0"/>
                </a:solidFill>
                <a:latin typeface="Segoe UI"/>
              </a:endParaRPr>
            </a:p>
          </p:txBody>
        </p:sp>
      </p:grpSp>
      <p:grpSp>
        <p:nvGrpSpPr>
          <p:cNvPr id="13" name="Group 12"/>
          <p:cNvGrpSpPr/>
          <p:nvPr/>
        </p:nvGrpSpPr>
        <p:grpSpPr>
          <a:xfrm>
            <a:off x="4562362" y="1561449"/>
            <a:ext cx="1487328" cy="1487329"/>
            <a:chOff x="4653846" y="1592262"/>
            <a:chExt cx="1517152" cy="1517153"/>
          </a:xfrm>
        </p:grpSpPr>
        <p:sp>
          <p:nvSpPr>
            <p:cNvPr id="61" name="Rectangle 60"/>
            <p:cNvSpPr/>
            <p:nvPr/>
          </p:nvSpPr>
          <p:spPr bwMode="auto">
            <a:xfrm>
              <a:off x="4653846" y="1592262"/>
              <a:ext cx="1517152" cy="151715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b" anchorCtr="0" forceAA="0" compatLnSpc="1">
              <a:prstTxWarp prst="textNoShape">
                <a:avLst/>
              </a:prstTxWarp>
              <a:noAutofit/>
            </a:bodyPr>
            <a:lstStyle/>
            <a:p>
              <a:pPr defTabSz="914102" fontAlgn="base">
                <a:lnSpc>
                  <a:spcPct val="90000"/>
                </a:lnSpc>
                <a:spcBef>
                  <a:spcPct val="0"/>
                </a:spcBef>
                <a:spcAft>
                  <a:spcPct val="0"/>
                </a:spcAft>
              </a:pPr>
              <a:r>
                <a:rPr lang="en-US" sz="1372" kern="0" dirty="0">
                  <a:solidFill>
                    <a:sysClr val="window" lastClr="FFFFFF"/>
                  </a:solidFill>
                  <a:latin typeface="Segoe UI"/>
                  <a:cs typeface="Segoe UI" pitchFamily="34" charset="0"/>
                </a:rPr>
                <a:t>Buyer propensity models</a:t>
              </a:r>
            </a:p>
          </p:txBody>
        </p:sp>
        <p:sp>
          <p:nvSpPr>
            <p:cNvPr id="139" name="Freeform 11"/>
            <p:cNvSpPr>
              <a:spLocks noEditPoints="1"/>
            </p:cNvSpPr>
            <p:nvPr/>
          </p:nvSpPr>
          <p:spPr bwMode="auto">
            <a:xfrm>
              <a:off x="4986133" y="2037809"/>
              <a:ext cx="852578" cy="389750"/>
            </a:xfrm>
            <a:custGeom>
              <a:avLst/>
              <a:gdLst>
                <a:gd name="T0" fmla="*/ 205 w 400"/>
                <a:gd name="T1" fmla="*/ 64 h 183"/>
                <a:gd name="T2" fmla="*/ 211 w 400"/>
                <a:gd name="T3" fmla="*/ 57 h 183"/>
                <a:gd name="T4" fmla="*/ 186 w 400"/>
                <a:gd name="T5" fmla="*/ 69 h 183"/>
                <a:gd name="T6" fmla="*/ 199 w 400"/>
                <a:gd name="T7" fmla="*/ 67 h 183"/>
                <a:gd name="T8" fmla="*/ 219 w 400"/>
                <a:gd name="T9" fmla="*/ 30 h 183"/>
                <a:gd name="T10" fmla="*/ 208 w 400"/>
                <a:gd name="T11" fmla="*/ 31 h 183"/>
                <a:gd name="T12" fmla="*/ 198 w 400"/>
                <a:gd name="T13" fmla="*/ 36 h 183"/>
                <a:gd name="T14" fmla="*/ 205 w 400"/>
                <a:gd name="T15" fmla="*/ 42 h 183"/>
                <a:gd name="T16" fmla="*/ 304 w 400"/>
                <a:gd name="T17" fmla="*/ 101 h 183"/>
                <a:gd name="T18" fmla="*/ 400 w 400"/>
                <a:gd name="T19" fmla="*/ 3 h 183"/>
                <a:gd name="T20" fmla="*/ 104 w 400"/>
                <a:gd name="T21" fmla="*/ 0 h 183"/>
                <a:gd name="T22" fmla="*/ 2 w 400"/>
                <a:gd name="T23" fmla="*/ 94 h 183"/>
                <a:gd name="T24" fmla="*/ 6 w 400"/>
                <a:gd name="T25" fmla="*/ 103 h 183"/>
                <a:gd name="T26" fmla="*/ 150 w 400"/>
                <a:gd name="T27" fmla="*/ 59 h 183"/>
                <a:gd name="T28" fmla="*/ 168 w 400"/>
                <a:gd name="T29" fmla="*/ 66 h 183"/>
                <a:gd name="T30" fmla="*/ 194 w 400"/>
                <a:gd name="T31" fmla="*/ 53 h 183"/>
                <a:gd name="T32" fmla="*/ 190 w 400"/>
                <a:gd name="T33" fmla="*/ 52 h 183"/>
                <a:gd name="T34" fmla="*/ 174 w 400"/>
                <a:gd name="T35" fmla="*/ 48 h 183"/>
                <a:gd name="T36" fmla="*/ 176 w 400"/>
                <a:gd name="T37" fmla="*/ 38 h 183"/>
                <a:gd name="T38" fmla="*/ 199 w 400"/>
                <a:gd name="T39" fmla="*/ 26 h 183"/>
                <a:gd name="T40" fmla="*/ 228 w 400"/>
                <a:gd name="T41" fmla="*/ 21 h 183"/>
                <a:gd name="T42" fmla="*/ 243 w 400"/>
                <a:gd name="T43" fmla="*/ 14 h 183"/>
                <a:gd name="T44" fmla="*/ 248 w 400"/>
                <a:gd name="T45" fmla="*/ 21 h 183"/>
                <a:gd name="T46" fmla="*/ 257 w 400"/>
                <a:gd name="T47" fmla="*/ 29 h 183"/>
                <a:gd name="T48" fmla="*/ 232 w 400"/>
                <a:gd name="T49" fmla="*/ 36 h 183"/>
                <a:gd name="T50" fmla="*/ 227 w 400"/>
                <a:gd name="T51" fmla="*/ 29 h 183"/>
                <a:gd name="T52" fmla="*/ 216 w 400"/>
                <a:gd name="T53" fmla="*/ 43 h 183"/>
                <a:gd name="T54" fmla="*/ 233 w 400"/>
                <a:gd name="T55" fmla="*/ 47 h 183"/>
                <a:gd name="T56" fmla="*/ 235 w 400"/>
                <a:gd name="T57" fmla="*/ 57 h 183"/>
                <a:gd name="T58" fmla="*/ 225 w 400"/>
                <a:gd name="T59" fmla="*/ 66 h 183"/>
                <a:gd name="T60" fmla="*/ 197 w 400"/>
                <a:gd name="T61" fmla="*/ 75 h 183"/>
                <a:gd name="T62" fmla="*/ 169 w 400"/>
                <a:gd name="T63" fmla="*/ 84 h 183"/>
                <a:gd name="T64" fmla="*/ 167 w 400"/>
                <a:gd name="T65" fmla="*/ 78 h 183"/>
                <a:gd name="T66" fmla="*/ 150 w 400"/>
                <a:gd name="T67" fmla="*/ 59 h 183"/>
                <a:gd name="T68" fmla="*/ 2 w 400"/>
                <a:gd name="T69" fmla="*/ 122 h 183"/>
                <a:gd name="T70" fmla="*/ 311 w 400"/>
                <a:gd name="T71" fmla="*/ 143 h 183"/>
                <a:gd name="T72" fmla="*/ 400 w 400"/>
                <a:gd name="T73" fmla="*/ 59 h 183"/>
                <a:gd name="T74" fmla="*/ 306 w 400"/>
                <a:gd name="T75" fmla="*/ 122 h 183"/>
                <a:gd name="T76" fmla="*/ 2 w 400"/>
                <a:gd name="T77" fmla="*/ 183 h 183"/>
                <a:gd name="T78" fmla="*/ 328 w 400"/>
                <a:gd name="T79" fmla="*/ 180 h 183"/>
                <a:gd name="T80" fmla="*/ 400 w 400"/>
                <a:gd name="T81" fmla="*/ 79 h 183"/>
                <a:gd name="T82" fmla="*/ 2 w 400"/>
                <a:gd name="T83" fmla="*/ 16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0" h="183">
                  <a:moveTo>
                    <a:pt x="199" y="67"/>
                  </a:moveTo>
                  <a:cubicBezTo>
                    <a:pt x="201" y="66"/>
                    <a:pt x="203" y="65"/>
                    <a:pt x="205" y="64"/>
                  </a:cubicBezTo>
                  <a:cubicBezTo>
                    <a:pt x="207" y="63"/>
                    <a:pt x="209" y="62"/>
                    <a:pt x="210" y="61"/>
                  </a:cubicBezTo>
                  <a:cubicBezTo>
                    <a:pt x="212" y="59"/>
                    <a:pt x="212" y="58"/>
                    <a:pt x="211" y="57"/>
                  </a:cubicBezTo>
                  <a:cubicBezTo>
                    <a:pt x="209" y="56"/>
                    <a:pt x="206" y="55"/>
                    <a:pt x="201" y="54"/>
                  </a:cubicBezTo>
                  <a:cubicBezTo>
                    <a:pt x="186" y="69"/>
                    <a:pt x="186" y="69"/>
                    <a:pt x="186" y="69"/>
                  </a:cubicBezTo>
                  <a:cubicBezTo>
                    <a:pt x="188" y="69"/>
                    <a:pt x="190" y="68"/>
                    <a:pt x="192" y="68"/>
                  </a:cubicBezTo>
                  <a:cubicBezTo>
                    <a:pt x="194" y="68"/>
                    <a:pt x="197" y="67"/>
                    <a:pt x="199" y="67"/>
                  </a:cubicBezTo>
                  <a:close/>
                  <a:moveTo>
                    <a:pt x="205" y="42"/>
                  </a:moveTo>
                  <a:cubicBezTo>
                    <a:pt x="219" y="30"/>
                    <a:pt x="219" y="30"/>
                    <a:pt x="219" y="30"/>
                  </a:cubicBezTo>
                  <a:cubicBezTo>
                    <a:pt x="217" y="30"/>
                    <a:pt x="215" y="30"/>
                    <a:pt x="213" y="30"/>
                  </a:cubicBezTo>
                  <a:cubicBezTo>
                    <a:pt x="211" y="30"/>
                    <a:pt x="210" y="31"/>
                    <a:pt x="208" y="31"/>
                  </a:cubicBezTo>
                  <a:cubicBezTo>
                    <a:pt x="206" y="32"/>
                    <a:pt x="204" y="33"/>
                    <a:pt x="203" y="33"/>
                  </a:cubicBezTo>
                  <a:cubicBezTo>
                    <a:pt x="201" y="34"/>
                    <a:pt x="200" y="35"/>
                    <a:pt x="198" y="36"/>
                  </a:cubicBezTo>
                  <a:cubicBezTo>
                    <a:pt x="197" y="38"/>
                    <a:pt x="196" y="39"/>
                    <a:pt x="197" y="40"/>
                  </a:cubicBezTo>
                  <a:cubicBezTo>
                    <a:pt x="198" y="41"/>
                    <a:pt x="201" y="42"/>
                    <a:pt x="205" y="42"/>
                  </a:cubicBezTo>
                  <a:close/>
                  <a:moveTo>
                    <a:pt x="300" y="103"/>
                  </a:moveTo>
                  <a:cubicBezTo>
                    <a:pt x="302" y="103"/>
                    <a:pt x="303" y="102"/>
                    <a:pt x="304" y="101"/>
                  </a:cubicBezTo>
                  <a:cubicBezTo>
                    <a:pt x="398" y="9"/>
                    <a:pt x="398" y="9"/>
                    <a:pt x="398" y="9"/>
                  </a:cubicBezTo>
                  <a:cubicBezTo>
                    <a:pt x="400" y="7"/>
                    <a:pt x="400" y="5"/>
                    <a:pt x="400" y="3"/>
                  </a:cubicBezTo>
                  <a:cubicBezTo>
                    <a:pt x="399" y="1"/>
                    <a:pt x="397" y="0"/>
                    <a:pt x="395" y="0"/>
                  </a:cubicBezTo>
                  <a:cubicBezTo>
                    <a:pt x="104" y="0"/>
                    <a:pt x="104" y="0"/>
                    <a:pt x="104" y="0"/>
                  </a:cubicBezTo>
                  <a:cubicBezTo>
                    <a:pt x="103" y="0"/>
                    <a:pt x="102" y="1"/>
                    <a:pt x="101" y="1"/>
                  </a:cubicBezTo>
                  <a:cubicBezTo>
                    <a:pt x="2" y="94"/>
                    <a:pt x="2" y="94"/>
                    <a:pt x="2" y="94"/>
                  </a:cubicBezTo>
                  <a:cubicBezTo>
                    <a:pt x="1" y="95"/>
                    <a:pt x="0" y="97"/>
                    <a:pt x="1" y="99"/>
                  </a:cubicBezTo>
                  <a:cubicBezTo>
                    <a:pt x="2" y="101"/>
                    <a:pt x="4" y="103"/>
                    <a:pt x="6" y="103"/>
                  </a:cubicBezTo>
                  <a:lnTo>
                    <a:pt x="300" y="103"/>
                  </a:lnTo>
                  <a:close/>
                  <a:moveTo>
                    <a:pt x="150" y="59"/>
                  </a:moveTo>
                  <a:cubicBezTo>
                    <a:pt x="171" y="59"/>
                    <a:pt x="171" y="59"/>
                    <a:pt x="171" y="59"/>
                  </a:cubicBezTo>
                  <a:cubicBezTo>
                    <a:pt x="168" y="62"/>
                    <a:pt x="167" y="64"/>
                    <a:pt x="168" y="66"/>
                  </a:cubicBezTo>
                  <a:cubicBezTo>
                    <a:pt x="170" y="67"/>
                    <a:pt x="173" y="68"/>
                    <a:pt x="177" y="69"/>
                  </a:cubicBezTo>
                  <a:cubicBezTo>
                    <a:pt x="194" y="53"/>
                    <a:pt x="194" y="53"/>
                    <a:pt x="194" y="53"/>
                  </a:cubicBezTo>
                  <a:cubicBezTo>
                    <a:pt x="193" y="53"/>
                    <a:pt x="193" y="53"/>
                    <a:pt x="192" y="52"/>
                  </a:cubicBezTo>
                  <a:cubicBezTo>
                    <a:pt x="191" y="52"/>
                    <a:pt x="191" y="52"/>
                    <a:pt x="190" y="52"/>
                  </a:cubicBezTo>
                  <a:cubicBezTo>
                    <a:pt x="187" y="52"/>
                    <a:pt x="183" y="51"/>
                    <a:pt x="181" y="51"/>
                  </a:cubicBezTo>
                  <a:cubicBezTo>
                    <a:pt x="178" y="50"/>
                    <a:pt x="176" y="49"/>
                    <a:pt x="174" y="48"/>
                  </a:cubicBezTo>
                  <a:cubicBezTo>
                    <a:pt x="172" y="47"/>
                    <a:pt x="172" y="46"/>
                    <a:pt x="172" y="44"/>
                  </a:cubicBezTo>
                  <a:cubicBezTo>
                    <a:pt x="172" y="42"/>
                    <a:pt x="173" y="40"/>
                    <a:pt x="176" y="38"/>
                  </a:cubicBezTo>
                  <a:cubicBezTo>
                    <a:pt x="179" y="35"/>
                    <a:pt x="182" y="33"/>
                    <a:pt x="186" y="31"/>
                  </a:cubicBezTo>
                  <a:cubicBezTo>
                    <a:pt x="191" y="29"/>
                    <a:pt x="195" y="27"/>
                    <a:pt x="199" y="26"/>
                  </a:cubicBezTo>
                  <a:cubicBezTo>
                    <a:pt x="204" y="24"/>
                    <a:pt x="209" y="23"/>
                    <a:pt x="214" y="22"/>
                  </a:cubicBezTo>
                  <a:cubicBezTo>
                    <a:pt x="219" y="21"/>
                    <a:pt x="224" y="21"/>
                    <a:pt x="228" y="21"/>
                  </a:cubicBezTo>
                  <a:cubicBezTo>
                    <a:pt x="234" y="15"/>
                    <a:pt x="234" y="15"/>
                    <a:pt x="234" y="15"/>
                  </a:cubicBezTo>
                  <a:cubicBezTo>
                    <a:pt x="243" y="14"/>
                    <a:pt x="243" y="14"/>
                    <a:pt x="243" y="14"/>
                  </a:cubicBezTo>
                  <a:cubicBezTo>
                    <a:pt x="237" y="20"/>
                    <a:pt x="237" y="20"/>
                    <a:pt x="237" y="20"/>
                  </a:cubicBezTo>
                  <a:cubicBezTo>
                    <a:pt x="241" y="20"/>
                    <a:pt x="245" y="21"/>
                    <a:pt x="248" y="21"/>
                  </a:cubicBezTo>
                  <a:cubicBezTo>
                    <a:pt x="251" y="22"/>
                    <a:pt x="253" y="23"/>
                    <a:pt x="255" y="24"/>
                  </a:cubicBezTo>
                  <a:cubicBezTo>
                    <a:pt x="257" y="25"/>
                    <a:pt x="257" y="27"/>
                    <a:pt x="257" y="29"/>
                  </a:cubicBezTo>
                  <a:cubicBezTo>
                    <a:pt x="257" y="31"/>
                    <a:pt x="256" y="33"/>
                    <a:pt x="253" y="36"/>
                  </a:cubicBezTo>
                  <a:cubicBezTo>
                    <a:pt x="232" y="36"/>
                    <a:pt x="232" y="36"/>
                    <a:pt x="232" y="36"/>
                  </a:cubicBezTo>
                  <a:cubicBezTo>
                    <a:pt x="234" y="34"/>
                    <a:pt x="235" y="33"/>
                    <a:pt x="234" y="31"/>
                  </a:cubicBezTo>
                  <a:cubicBezTo>
                    <a:pt x="233" y="30"/>
                    <a:pt x="231" y="29"/>
                    <a:pt x="227" y="29"/>
                  </a:cubicBezTo>
                  <a:cubicBezTo>
                    <a:pt x="213" y="43"/>
                    <a:pt x="213" y="43"/>
                    <a:pt x="213" y="43"/>
                  </a:cubicBezTo>
                  <a:cubicBezTo>
                    <a:pt x="214" y="43"/>
                    <a:pt x="215" y="43"/>
                    <a:pt x="216" y="43"/>
                  </a:cubicBezTo>
                  <a:cubicBezTo>
                    <a:pt x="217" y="43"/>
                    <a:pt x="218" y="44"/>
                    <a:pt x="220" y="44"/>
                  </a:cubicBezTo>
                  <a:cubicBezTo>
                    <a:pt x="226" y="45"/>
                    <a:pt x="230" y="46"/>
                    <a:pt x="233" y="47"/>
                  </a:cubicBezTo>
                  <a:cubicBezTo>
                    <a:pt x="235" y="49"/>
                    <a:pt x="236" y="50"/>
                    <a:pt x="237" y="52"/>
                  </a:cubicBezTo>
                  <a:cubicBezTo>
                    <a:pt x="237" y="54"/>
                    <a:pt x="236" y="55"/>
                    <a:pt x="235" y="57"/>
                  </a:cubicBezTo>
                  <a:cubicBezTo>
                    <a:pt x="234" y="59"/>
                    <a:pt x="232" y="60"/>
                    <a:pt x="231" y="61"/>
                  </a:cubicBezTo>
                  <a:cubicBezTo>
                    <a:pt x="230" y="63"/>
                    <a:pt x="228" y="64"/>
                    <a:pt x="225" y="66"/>
                  </a:cubicBezTo>
                  <a:cubicBezTo>
                    <a:pt x="222" y="68"/>
                    <a:pt x="218" y="69"/>
                    <a:pt x="214" y="71"/>
                  </a:cubicBezTo>
                  <a:cubicBezTo>
                    <a:pt x="209" y="73"/>
                    <a:pt x="204" y="74"/>
                    <a:pt x="197" y="75"/>
                  </a:cubicBezTo>
                  <a:cubicBezTo>
                    <a:pt x="191" y="77"/>
                    <a:pt x="184" y="77"/>
                    <a:pt x="176" y="78"/>
                  </a:cubicBezTo>
                  <a:cubicBezTo>
                    <a:pt x="169" y="84"/>
                    <a:pt x="169" y="84"/>
                    <a:pt x="169" y="84"/>
                  </a:cubicBezTo>
                  <a:cubicBezTo>
                    <a:pt x="160" y="84"/>
                    <a:pt x="160" y="84"/>
                    <a:pt x="160" y="84"/>
                  </a:cubicBezTo>
                  <a:cubicBezTo>
                    <a:pt x="167" y="78"/>
                    <a:pt x="167" y="78"/>
                    <a:pt x="167" y="78"/>
                  </a:cubicBezTo>
                  <a:cubicBezTo>
                    <a:pt x="156" y="77"/>
                    <a:pt x="149" y="75"/>
                    <a:pt x="146" y="72"/>
                  </a:cubicBezTo>
                  <a:cubicBezTo>
                    <a:pt x="143" y="69"/>
                    <a:pt x="145" y="65"/>
                    <a:pt x="150" y="59"/>
                  </a:cubicBezTo>
                  <a:close/>
                  <a:moveTo>
                    <a:pt x="306" y="122"/>
                  </a:moveTo>
                  <a:cubicBezTo>
                    <a:pt x="2" y="122"/>
                    <a:pt x="2" y="122"/>
                    <a:pt x="2" y="122"/>
                  </a:cubicBezTo>
                  <a:cubicBezTo>
                    <a:pt x="2" y="143"/>
                    <a:pt x="2" y="143"/>
                    <a:pt x="2" y="143"/>
                  </a:cubicBezTo>
                  <a:cubicBezTo>
                    <a:pt x="311" y="143"/>
                    <a:pt x="311" y="143"/>
                    <a:pt x="311" y="143"/>
                  </a:cubicBezTo>
                  <a:cubicBezTo>
                    <a:pt x="313" y="143"/>
                    <a:pt x="316" y="142"/>
                    <a:pt x="318" y="140"/>
                  </a:cubicBezTo>
                  <a:cubicBezTo>
                    <a:pt x="400" y="59"/>
                    <a:pt x="400" y="59"/>
                    <a:pt x="400" y="59"/>
                  </a:cubicBezTo>
                  <a:cubicBezTo>
                    <a:pt x="400" y="28"/>
                    <a:pt x="400" y="28"/>
                    <a:pt x="400" y="28"/>
                  </a:cubicBezTo>
                  <a:lnTo>
                    <a:pt x="306" y="122"/>
                  </a:lnTo>
                  <a:close/>
                  <a:moveTo>
                    <a:pt x="2" y="162"/>
                  </a:moveTo>
                  <a:cubicBezTo>
                    <a:pt x="2" y="183"/>
                    <a:pt x="2" y="183"/>
                    <a:pt x="2" y="183"/>
                  </a:cubicBezTo>
                  <a:cubicBezTo>
                    <a:pt x="321" y="183"/>
                    <a:pt x="321" y="183"/>
                    <a:pt x="321" y="183"/>
                  </a:cubicBezTo>
                  <a:cubicBezTo>
                    <a:pt x="324" y="183"/>
                    <a:pt x="326" y="182"/>
                    <a:pt x="328" y="180"/>
                  </a:cubicBezTo>
                  <a:cubicBezTo>
                    <a:pt x="400" y="109"/>
                    <a:pt x="400" y="109"/>
                    <a:pt x="400" y="109"/>
                  </a:cubicBezTo>
                  <a:cubicBezTo>
                    <a:pt x="400" y="79"/>
                    <a:pt x="400" y="79"/>
                    <a:pt x="400" y="79"/>
                  </a:cubicBezTo>
                  <a:cubicBezTo>
                    <a:pt x="317" y="162"/>
                    <a:pt x="317" y="162"/>
                    <a:pt x="317" y="162"/>
                  </a:cubicBezTo>
                  <a:lnTo>
                    <a:pt x="2" y="162"/>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896175"/>
              <a:endParaRPr lang="en-US" sz="1667" dirty="0">
                <a:solidFill>
                  <a:srgbClr val="FFFFFF"/>
                </a:solidFill>
                <a:latin typeface="Segoe UI"/>
              </a:endParaRPr>
            </a:p>
          </p:txBody>
        </p:sp>
      </p:grpSp>
      <p:grpSp>
        <p:nvGrpSpPr>
          <p:cNvPr id="23" name="Group 22"/>
          <p:cNvGrpSpPr/>
          <p:nvPr/>
        </p:nvGrpSpPr>
        <p:grpSpPr>
          <a:xfrm>
            <a:off x="1402464" y="3130192"/>
            <a:ext cx="1487328" cy="1487329"/>
            <a:chOff x="1430586" y="3192462"/>
            <a:chExt cx="1517152" cy="1517153"/>
          </a:xfrm>
        </p:grpSpPr>
        <p:sp>
          <p:nvSpPr>
            <p:cNvPr id="87" name="Rectangle 86"/>
            <p:cNvSpPr/>
            <p:nvPr/>
          </p:nvSpPr>
          <p:spPr bwMode="auto">
            <a:xfrm>
              <a:off x="1430586" y="3192462"/>
              <a:ext cx="1517152" cy="151715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b" anchorCtr="0" forceAA="0" compatLnSpc="1">
              <a:prstTxWarp prst="textNoShape">
                <a:avLst/>
              </a:prstTxWarp>
              <a:noAutofit/>
            </a:bodyPr>
            <a:lstStyle/>
            <a:p>
              <a:pPr defTabSz="914102" fontAlgn="base">
                <a:lnSpc>
                  <a:spcPct val="90000"/>
                </a:lnSpc>
                <a:spcBef>
                  <a:spcPct val="0"/>
                </a:spcBef>
                <a:spcAft>
                  <a:spcPct val="0"/>
                </a:spcAft>
              </a:pPr>
              <a:r>
                <a:rPr lang="en-US" sz="1372" kern="0" dirty="0">
                  <a:solidFill>
                    <a:sysClr val="window" lastClr="FFFFFF"/>
                  </a:solidFill>
                  <a:latin typeface="Segoe UI"/>
                  <a:cs typeface="Segoe UI" pitchFamily="34" charset="0"/>
                </a:rPr>
                <a:t>Churn analysis</a:t>
              </a:r>
            </a:p>
          </p:txBody>
        </p:sp>
        <p:grpSp>
          <p:nvGrpSpPr>
            <p:cNvPr id="140" name="Group 139"/>
            <p:cNvGrpSpPr/>
            <p:nvPr/>
          </p:nvGrpSpPr>
          <p:grpSpPr>
            <a:xfrm>
              <a:off x="1844187" y="3546470"/>
              <a:ext cx="646144" cy="658655"/>
              <a:chOff x="2851150" y="2184438"/>
              <a:chExt cx="319219" cy="325400"/>
            </a:xfrm>
            <a:solidFill>
              <a:schemeClr val="bg1"/>
            </a:solidFill>
          </p:grpSpPr>
          <p:sp>
            <p:nvSpPr>
              <p:cNvPr id="141" name="Freeform 106"/>
              <p:cNvSpPr>
                <a:spLocks/>
              </p:cNvSpPr>
              <p:nvPr/>
            </p:nvSpPr>
            <p:spPr bwMode="auto">
              <a:xfrm>
                <a:off x="2851150" y="2214563"/>
                <a:ext cx="296863" cy="295275"/>
              </a:xfrm>
              <a:custGeom>
                <a:avLst/>
                <a:gdLst>
                  <a:gd name="T0" fmla="*/ 40 w 79"/>
                  <a:gd name="T1" fmla="*/ 39 h 79"/>
                  <a:gd name="T2" fmla="*/ 79 w 79"/>
                  <a:gd name="T3" fmla="*/ 39 h 79"/>
                  <a:gd name="T4" fmla="*/ 40 w 79"/>
                  <a:gd name="T5" fmla="*/ 79 h 79"/>
                  <a:gd name="T6" fmla="*/ 0 w 79"/>
                  <a:gd name="T7" fmla="*/ 39 h 79"/>
                  <a:gd name="T8" fmla="*/ 40 w 79"/>
                  <a:gd name="T9" fmla="*/ 0 h 79"/>
                  <a:gd name="T10" fmla="*/ 40 w 79"/>
                  <a:gd name="T11" fmla="*/ 39 h 79"/>
                </a:gdLst>
                <a:ahLst/>
                <a:cxnLst>
                  <a:cxn ang="0">
                    <a:pos x="T0" y="T1"/>
                  </a:cxn>
                  <a:cxn ang="0">
                    <a:pos x="T2" y="T3"/>
                  </a:cxn>
                  <a:cxn ang="0">
                    <a:pos x="T4" y="T5"/>
                  </a:cxn>
                  <a:cxn ang="0">
                    <a:pos x="T6" y="T7"/>
                  </a:cxn>
                  <a:cxn ang="0">
                    <a:pos x="T8" y="T9"/>
                  </a:cxn>
                  <a:cxn ang="0">
                    <a:pos x="T10" y="T11"/>
                  </a:cxn>
                </a:cxnLst>
                <a:rect l="0" t="0" r="r" b="b"/>
                <a:pathLst>
                  <a:path w="79" h="79">
                    <a:moveTo>
                      <a:pt x="40" y="39"/>
                    </a:moveTo>
                    <a:cubicBezTo>
                      <a:pt x="79" y="39"/>
                      <a:pt x="79" y="39"/>
                      <a:pt x="79" y="39"/>
                    </a:cubicBezTo>
                    <a:cubicBezTo>
                      <a:pt x="79" y="61"/>
                      <a:pt x="61" y="79"/>
                      <a:pt x="40" y="79"/>
                    </a:cubicBezTo>
                    <a:cubicBezTo>
                      <a:pt x="18" y="79"/>
                      <a:pt x="0" y="61"/>
                      <a:pt x="0" y="39"/>
                    </a:cubicBezTo>
                    <a:cubicBezTo>
                      <a:pt x="0" y="18"/>
                      <a:pt x="18" y="0"/>
                      <a:pt x="40" y="0"/>
                    </a:cubicBezTo>
                    <a:lnTo>
                      <a:pt x="40" y="39"/>
                    </a:lnTo>
                    <a:close/>
                  </a:path>
                </a:pathLst>
              </a:custGeom>
              <a:grpFill/>
              <a:ln>
                <a:noFill/>
              </a:ln>
            </p:spPr>
            <p:txBody>
              <a:bodyPr vert="horz" wrap="square" lIns="89642" tIns="44821" rIns="89642" bIns="44821" numCol="1" anchor="t" anchorCtr="0" compatLnSpc="1">
                <a:prstTxWarp prst="textNoShape">
                  <a:avLst/>
                </a:prstTxWarp>
              </a:bodyPr>
              <a:lstStyle/>
              <a:p>
                <a:pPr defTabSz="896175"/>
                <a:endParaRPr lang="en-US" sz="1667" dirty="0">
                  <a:solidFill>
                    <a:srgbClr val="000000"/>
                  </a:solidFill>
                  <a:latin typeface="Segoe UI"/>
                </a:endParaRPr>
              </a:p>
            </p:txBody>
          </p:sp>
          <p:sp>
            <p:nvSpPr>
              <p:cNvPr id="142" name="Freeform 107"/>
              <p:cNvSpPr>
                <a:spLocks/>
              </p:cNvSpPr>
              <p:nvPr/>
            </p:nvSpPr>
            <p:spPr bwMode="auto">
              <a:xfrm>
                <a:off x="3024319" y="2184438"/>
                <a:ext cx="146050" cy="150813"/>
              </a:xfrm>
              <a:custGeom>
                <a:avLst/>
                <a:gdLst>
                  <a:gd name="T0" fmla="*/ 0 w 39"/>
                  <a:gd name="T1" fmla="*/ 40 h 40"/>
                  <a:gd name="T2" fmla="*/ 39 w 39"/>
                  <a:gd name="T3" fmla="*/ 40 h 40"/>
                  <a:gd name="T4" fmla="*/ 0 w 39"/>
                  <a:gd name="T5" fmla="*/ 0 h 40"/>
                  <a:gd name="T6" fmla="*/ 0 w 39"/>
                  <a:gd name="T7" fmla="*/ 40 h 40"/>
                </a:gdLst>
                <a:ahLst/>
                <a:cxnLst>
                  <a:cxn ang="0">
                    <a:pos x="T0" y="T1"/>
                  </a:cxn>
                  <a:cxn ang="0">
                    <a:pos x="T2" y="T3"/>
                  </a:cxn>
                  <a:cxn ang="0">
                    <a:pos x="T4" y="T5"/>
                  </a:cxn>
                  <a:cxn ang="0">
                    <a:pos x="T6" y="T7"/>
                  </a:cxn>
                </a:cxnLst>
                <a:rect l="0" t="0" r="r" b="b"/>
                <a:pathLst>
                  <a:path w="39" h="40">
                    <a:moveTo>
                      <a:pt x="0" y="40"/>
                    </a:moveTo>
                    <a:cubicBezTo>
                      <a:pt x="39" y="40"/>
                      <a:pt x="39" y="40"/>
                      <a:pt x="39" y="40"/>
                    </a:cubicBezTo>
                    <a:cubicBezTo>
                      <a:pt x="39" y="18"/>
                      <a:pt x="21" y="0"/>
                      <a:pt x="0" y="0"/>
                    </a:cubicBezTo>
                    <a:lnTo>
                      <a:pt x="0" y="40"/>
                    </a:lnTo>
                    <a:close/>
                  </a:path>
                </a:pathLst>
              </a:custGeom>
              <a:grpFill/>
              <a:ln>
                <a:noFill/>
              </a:ln>
            </p:spPr>
            <p:txBody>
              <a:bodyPr vert="horz" wrap="square" lIns="89642" tIns="44821" rIns="89642" bIns="44821" numCol="1" anchor="t" anchorCtr="0" compatLnSpc="1">
                <a:prstTxWarp prst="textNoShape">
                  <a:avLst/>
                </a:prstTxWarp>
              </a:bodyPr>
              <a:lstStyle/>
              <a:p>
                <a:pPr defTabSz="896175"/>
                <a:endParaRPr lang="en-US" sz="1667" dirty="0">
                  <a:solidFill>
                    <a:srgbClr val="000000"/>
                  </a:solidFill>
                  <a:latin typeface="Segoe UI"/>
                </a:endParaRPr>
              </a:p>
            </p:txBody>
          </p:sp>
        </p:grpSp>
      </p:grpSp>
      <p:grpSp>
        <p:nvGrpSpPr>
          <p:cNvPr id="25" name="Group 24"/>
          <p:cNvGrpSpPr/>
          <p:nvPr/>
        </p:nvGrpSpPr>
        <p:grpSpPr>
          <a:xfrm>
            <a:off x="2982413" y="4698936"/>
            <a:ext cx="1487328" cy="1487329"/>
            <a:chOff x="3042216" y="4792662"/>
            <a:chExt cx="1517152" cy="1517153"/>
          </a:xfrm>
        </p:grpSpPr>
        <p:sp>
          <p:nvSpPr>
            <p:cNvPr id="98" name="Rectangle 97"/>
            <p:cNvSpPr/>
            <p:nvPr/>
          </p:nvSpPr>
          <p:spPr bwMode="auto">
            <a:xfrm>
              <a:off x="3042216" y="4792662"/>
              <a:ext cx="1517152" cy="151715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b" anchorCtr="0" forceAA="0" compatLnSpc="1">
              <a:prstTxWarp prst="textNoShape">
                <a:avLst/>
              </a:prstTxWarp>
              <a:noAutofit/>
            </a:bodyPr>
            <a:lstStyle/>
            <a:p>
              <a:pPr defTabSz="914102" fontAlgn="base">
                <a:lnSpc>
                  <a:spcPct val="90000"/>
                </a:lnSpc>
                <a:spcBef>
                  <a:spcPct val="0"/>
                </a:spcBef>
                <a:spcAft>
                  <a:spcPct val="0"/>
                </a:spcAft>
              </a:pPr>
              <a:r>
                <a:rPr lang="en-US" sz="1372" kern="0" dirty="0">
                  <a:solidFill>
                    <a:sysClr val="window" lastClr="FFFFFF"/>
                  </a:solidFill>
                  <a:latin typeface="Segoe UI"/>
                  <a:cs typeface="Segoe UI" pitchFamily="34" charset="0"/>
                </a:rPr>
                <a:t>Life sciences research</a:t>
              </a:r>
            </a:p>
          </p:txBody>
        </p:sp>
        <p:grpSp>
          <p:nvGrpSpPr>
            <p:cNvPr id="143" name="Group 142"/>
            <p:cNvGrpSpPr/>
            <p:nvPr/>
          </p:nvGrpSpPr>
          <p:grpSpPr>
            <a:xfrm>
              <a:off x="3484542" y="4987948"/>
              <a:ext cx="579058" cy="752452"/>
              <a:chOff x="3201299" y="1823323"/>
              <a:chExt cx="223363" cy="290247"/>
            </a:xfrm>
            <a:solidFill>
              <a:schemeClr val="bg1"/>
            </a:solidFill>
          </p:grpSpPr>
          <p:sp>
            <p:nvSpPr>
              <p:cNvPr id="144" name="Freeform 42"/>
              <p:cNvSpPr>
                <a:spLocks/>
              </p:cNvSpPr>
              <p:nvPr/>
            </p:nvSpPr>
            <p:spPr bwMode="auto">
              <a:xfrm>
                <a:off x="3201299" y="1971713"/>
                <a:ext cx="223363" cy="141857"/>
              </a:xfrm>
              <a:custGeom>
                <a:avLst/>
                <a:gdLst>
                  <a:gd name="T0" fmla="*/ 152 w 304"/>
                  <a:gd name="T1" fmla="*/ 99 h 193"/>
                  <a:gd name="T2" fmla="*/ 0 w 304"/>
                  <a:gd name="T3" fmla="*/ 0 h 193"/>
                  <a:gd name="T4" fmla="*/ 152 w 304"/>
                  <a:gd name="T5" fmla="*/ 161 h 193"/>
                  <a:gd name="T6" fmla="*/ 304 w 304"/>
                  <a:gd name="T7" fmla="*/ 0 h 193"/>
                  <a:gd name="T8" fmla="*/ 152 w 304"/>
                  <a:gd name="T9" fmla="*/ 99 h 193"/>
                </a:gdLst>
                <a:ahLst/>
                <a:cxnLst>
                  <a:cxn ang="0">
                    <a:pos x="T0" y="T1"/>
                  </a:cxn>
                  <a:cxn ang="0">
                    <a:pos x="T2" y="T3"/>
                  </a:cxn>
                  <a:cxn ang="0">
                    <a:pos x="T4" y="T5"/>
                  </a:cxn>
                  <a:cxn ang="0">
                    <a:pos x="T6" y="T7"/>
                  </a:cxn>
                  <a:cxn ang="0">
                    <a:pos x="T8" y="T9"/>
                  </a:cxn>
                </a:cxnLst>
                <a:rect l="0" t="0" r="r" b="b"/>
                <a:pathLst>
                  <a:path w="304" h="193">
                    <a:moveTo>
                      <a:pt x="152" y="99"/>
                    </a:moveTo>
                    <a:cubicBezTo>
                      <a:pt x="121" y="55"/>
                      <a:pt x="50" y="18"/>
                      <a:pt x="0" y="0"/>
                    </a:cubicBezTo>
                    <a:cubicBezTo>
                      <a:pt x="40" y="113"/>
                      <a:pt x="74" y="193"/>
                      <a:pt x="152" y="161"/>
                    </a:cubicBezTo>
                    <a:cubicBezTo>
                      <a:pt x="230" y="193"/>
                      <a:pt x="264" y="113"/>
                      <a:pt x="304" y="0"/>
                    </a:cubicBezTo>
                    <a:cubicBezTo>
                      <a:pt x="254" y="18"/>
                      <a:pt x="183" y="55"/>
                      <a:pt x="152"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175"/>
                <a:endParaRPr lang="en-US" sz="1667" dirty="0">
                  <a:solidFill>
                    <a:srgbClr val="000000"/>
                  </a:solidFill>
                  <a:latin typeface="Segoe UI"/>
                </a:endParaRPr>
              </a:p>
            </p:txBody>
          </p:sp>
          <p:sp>
            <p:nvSpPr>
              <p:cNvPr id="145" name="Freeform 43"/>
              <p:cNvSpPr>
                <a:spLocks/>
              </p:cNvSpPr>
              <p:nvPr/>
            </p:nvSpPr>
            <p:spPr bwMode="auto">
              <a:xfrm>
                <a:off x="3228364" y="1824256"/>
                <a:ext cx="133769" cy="158656"/>
              </a:xfrm>
              <a:custGeom>
                <a:avLst/>
                <a:gdLst>
                  <a:gd name="T0" fmla="*/ 30 w 182"/>
                  <a:gd name="T1" fmla="*/ 0 h 216"/>
                  <a:gd name="T2" fmla="*/ 126 w 182"/>
                  <a:gd name="T3" fmla="*/ 212 h 216"/>
                  <a:gd name="T4" fmla="*/ 30 w 182"/>
                  <a:gd name="T5" fmla="*/ 0 h 216"/>
                </a:gdLst>
                <a:ahLst/>
                <a:cxnLst>
                  <a:cxn ang="0">
                    <a:pos x="T0" y="T1"/>
                  </a:cxn>
                  <a:cxn ang="0">
                    <a:pos x="T2" y="T3"/>
                  </a:cxn>
                  <a:cxn ang="0">
                    <a:pos x="T4" y="T5"/>
                  </a:cxn>
                </a:cxnLst>
                <a:rect l="0" t="0" r="r" b="b"/>
                <a:pathLst>
                  <a:path w="182" h="216">
                    <a:moveTo>
                      <a:pt x="30" y="0"/>
                    </a:moveTo>
                    <a:cubicBezTo>
                      <a:pt x="94" y="54"/>
                      <a:pt x="182" y="159"/>
                      <a:pt x="126" y="212"/>
                    </a:cubicBezTo>
                    <a:cubicBezTo>
                      <a:pt x="0" y="216"/>
                      <a:pt x="8" y="126"/>
                      <a:pt x="3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175"/>
                <a:endParaRPr lang="en-US" sz="1667" dirty="0">
                  <a:solidFill>
                    <a:srgbClr val="000000"/>
                  </a:solidFill>
                  <a:latin typeface="Segoe UI"/>
                </a:endParaRPr>
              </a:p>
            </p:txBody>
          </p:sp>
          <p:sp>
            <p:nvSpPr>
              <p:cNvPr id="146" name="Freeform 45"/>
              <p:cNvSpPr>
                <a:spLocks/>
              </p:cNvSpPr>
              <p:nvPr/>
            </p:nvSpPr>
            <p:spPr bwMode="auto">
              <a:xfrm>
                <a:off x="3322624" y="1823323"/>
                <a:ext cx="72484" cy="152123"/>
              </a:xfrm>
              <a:custGeom>
                <a:avLst/>
                <a:gdLst>
                  <a:gd name="T0" fmla="*/ 76 w 99"/>
                  <a:gd name="T1" fmla="*/ 0 h 207"/>
                  <a:gd name="T2" fmla="*/ 0 w 99"/>
                  <a:gd name="T3" fmla="*/ 79 h 207"/>
                  <a:gd name="T4" fmla="*/ 35 w 99"/>
                  <a:gd name="T5" fmla="*/ 168 h 207"/>
                  <a:gd name="T6" fmla="*/ 27 w 99"/>
                  <a:gd name="T7" fmla="*/ 207 h 207"/>
                  <a:gd name="T8" fmla="*/ 76 w 99"/>
                  <a:gd name="T9" fmla="*/ 0 h 207"/>
                </a:gdLst>
                <a:ahLst/>
                <a:cxnLst>
                  <a:cxn ang="0">
                    <a:pos x="T0" y="T1"/>
                  </a:cxn>
                  <a:cxn ang="0">
                    <a:pos x="T2" y="T3"/>
                  </a:cxn>
                  <a:cxn ang="0">
                    <a:pos x="T4" y="T5"/>
                  </a:cxn>
                  <a:cxn ang="0">
                    <a:pos x="T6" y="T7"/>
                  </a:cxn>
                  <a:cxn ang="0">
                    <a:pos x="T8" y="T9"/>
                  </a:cxn>
                </a:cxnLst>
                <a:rect l="0" t="0" r="r" b="b"/>
                <a:pathLst>
                  <a:path w="99" h="207">
                    <a:moveTo>
                      <a:pt x="76" y="0"/>
                    </a:moveTo>
                    <a:cubicBezTo>
                      <a:pt x="51" y="20"/>
                      <a:pt x="23" y="49"/>
                      <a:pt x="0" y="79"/>
                    </a:cubicBezTo>
                    <a:cubicBezTo>
                      <a:pt x="23" y="112"/>
                      <a:pt x="34" y="142"/>
                      <a:pt x="35" y="168"/>
                    </a:cubicBezTo>
                    <a:cubicBezTo>
                      <a:pt x="36" y="183"/>
                      <a:pt x="33" y="196"/>
                      <a:pt x="27" y="207"/>
                    </a:cubicBezTo>
                    <a:cubicBezTo>
                      <a:pt x="99" y="186"/>
                      <a:pt x="92" y="105"/>
                      <a:pt x="7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175"/>
                <a:endParaRPr lang="en-US" sz="1667" dirty="0">
                  <a:solidFill>
                    <a:srgbClr val="000000"/>
                  </a:solidFill>
                  <a:latin typeface="Segoe UI"/>
                </a:endParaRPr>
              </a:p>
            </p:txBody>
          </p:sp>
        </p:grpSp>
      </p:grpSp>
      <p:grpSp>
        <p:nvGrpSpPr>
          <p:cNvPr id="17" name="Group 16"/>
          <p:cNvGrpSpPr/>
          <p:nvPr/>
        </p:nvGrpSpPr>
        <p:grpSpPr>
          <a:xfrm>
            <a:off x="9302208" y="1561449"/>
            <a:ext cx="1487328" cy="1487329"/>
            <a:chOff x="9488736" y="1592262"/>
            <a:chExt cx="1517152" cy="1517153"/>
          </a:xfrm>
        </p:grpSpPr>
        <p:sp>
          <p:nvSpPr>
            <p:cNvPr id="80" name="Rectangle 79"/>
            <p:cNvSpPr/>
            <p:nvPr/>
          </p:nvSpPr>
          <p:spPr bwMode="auto">
            <a:xfrm>
              <a:off x="9488736" y="1592262"/>
              <a:ext cx="1517152" cy="151715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b" anchorCtr="0" forceAA="0" compatLnSpc="1">
              <a:prstTxWarp prst="textNoShape">
                <a:avLst/>
              </a:prstTxWarp>
              <a:noAutofit/>
            </a:bodyPr>
            <a:lstStyle/>
            <a:p>
              <a:pPr defTabSz="914102" fontAlgn="base">
                <a:lnSpc>
                  <a:spcPct val="90000"/>
                </a:lnSpc>
                <a:spcBef>
                  <a:spcPct val="0"/>
                </a:spcBef>
                <a:spcAft>
                  <a:spcPct val="0"/>
                </a:spcAft>
              </a:pPr>
              <a:r>
                <a:rPr lang="en-US" sz="1372" kern="0" dirty="0">
                  <a:solidFill>
                    <a:sysClr val="window" lastClr="FFFFFF"/>
                  </a:solidFill>
                  <a:latin typeface="Segoe UI"/>
                  <a:cs typeface="Segoe UI" pitchFamily="34" charset="0"/>
                </a:rPr>
                <a:t>Web app optimization</a:t>
              </a:r>
            </a:p>
          </p:txBody>
        </p:sp>
        <p:sp>
          <p:nvSpPr>
            <p:cNvPr id="151" name="Freeform 113"/>
            <p:cNvSpPr>
              <a:spLocks noEditPoints="1"/>
            </p:cNvSpPr>
            <p:nvPr/>
          </p:nvSpPr>
          <p:spPr bwMode="auto">
            <a:xfrm flipH="1">
              <a:off x="9928615" y="1826420"/>
              <a:ext cx="640080" cy="640080"/>
            </a:xfrm>
            <a:custGeom>
              <a:avLst/>
              <a:gdLst>
                <a:gd name="T0" fmla="*/ 801 w 1600"/>
                <a:gd name="T1" fmla="*/ 1598 h 1598"/>
                <a:gd name="T2" fmla="*/ 801 w 1600"/>
                <a:gd name="T3" fmla="*/ 0 h 1598"/>
                <a:gd name="T4" fmla="*/ 414 w 1600"/>
                <a:gd name="T5" fmla="*/ 1001 h 1598"/>
                <a:gd name="T6" fmla="*/ 406 w 1600"/>
                <a:gd name="T7" fmla="*/ 669 h 1598"/>
                <a:gd name="T8" fmla="*/ 148 w 1600"/>
                <a:gd name="T9" fmla="*/ 797 h 1598"/>
                <a:gd name="T10" fmla="*/ 414 w 1600"/>
                <a:gd name="T11" fmla="*/ 1001 h 1598"/>
                <a:gd name="T12" fmla="*/ 431 w 1600"/>
                <a:gd name="T13" fmla="*/ 1100 h 1598"/>
                <a:gd name="T14" fmla="*/ 340 w 1600"/>
                <a:gd name="T15" fmla="*/ 1258 h 1598"/>
                <a:gd name="T16" fmla="*/ 212 w 1600"/>
                <a:gd name="T17" fmla="*/ 521 h 1598"/>
                <a:gd name="T18" fmla="*/ 564 w 1600"/>
                <a:gd name="T19" fmla="*/ 195 h 1598"/>
                <a:gd name="T20" fmla="*/ 212 w 1600"/>
                <a:gd name="T21" fmla="*/ 521 h 1598"/>
                <a:gd name="T22" fmla="*/ 752 w 1600"/>
                <a:gd name="T23" fmla="*/ 1043 h 1598"/>
                <a:gd name="T24" fmla="*/ 490 w 1600"/>
                <a:gd name="T25" fmla="*/ 678 h 1598"/>
                <a:gd name="T26" fmla="*/ 503 w 1600"/>
                <a:gd name="T27" fmla="*/ 1019 h 1598"/>
                <a:gd name="T28" fmla="*/ 752 w 1600"/>
                <a:gd name="T29" fmla="*/ 609 h 1598"/>
                <a:gd name="T30" fmla="*/ 747 w 1600"/>
                <a:gd name="T31" fmla="*/ 151 h 1598"/>
                <a:gd name="T32" fmla="*/ 752 w 1600"/>
                <a:gd name="T33" fmla="*/ 1448 h 1598"/>
                <a:gd name="T34" fmla="*/ 525 w 1600"/>
                <a:gd name="T35" fmla="*/ 1115 h 1598"/>
                <a:gd name="T36" fmla="*/ 752 w 1600"/>
                <a:gd name="T37" fmla="*/ 1448 h 1598"/>
                <a:gd name="T38" fmla="*/ 845 w 1600"/>
                <a:gd name="T39" fmla="*/ 609 h 1598"/>
                <a:gd name="T40" fmla="*/ 909 w 1600"/>
                <a:gd name="T41" fmla="*/ 185 h 1598"/>
                <a:gd name="T42" fmla="*/ 1094 w 1600"/>
                <a:gd name="T43" fmla="*/ 1021 h 1598"/>
                <a:gd name="T44" fmla="*/ 1107 w 1600"/>
                <a:gd name="T45" fmla="*/ 681 h 1598"/>
                <a:gd name="T46" fmla="*/ 845 w 1600"/>
                <a:gd name="T47" fmla="*/ 1043 h 1598"/>
                <a:gd name="T48" fmla="*/ 1075 w 1600"/>
                <a:gd name="T49" fmla="*/ 1115 h 1598"/>
                <a:gd name="T50" fmla="*/ 845 w 1600"/>
                <a:gd name="T51" fmla="*/ 1448 h 1598"/>
                <a:gd name="T52" fmla="*/ 1035 w 1600"/>
                <a:gd name="T53" fmla="*/ 193 h 1598"/>
                <a:gd name="T54" fmla="*/ 1388 w 1600"/>
                <a:gd name="T55" fmla="*/ 523 h 1598"/>
                <a:gd name="T56" fmla="*/ 1407 w 1600"/>
                <a:gd name="T57" fmla="*/ 1028 h 1598"/>
                <a:gd name="T58" fmla="*/ 1047 w 1600"/>
                <a:gd name="T59" fmla="*/ 1398 h 1598"/>
                <a:gd name="T60" fmla="*/ 1407 w 1600"/>
                <a:gd name="T61" fmla="*/ 1028 h 1598"/>
                <a:gd name="T62" fmla="*/ 1186 w 1600"/>
                <a:gd name="T63" fmla="*/ 1004 h 1598"/>
                <a:gd name="T64" fmla="*/ 1422 w 1600"/>
                <a:gd name="T65" fmla="*/ 609 h 1598"/>
                <a:gd name="T66" fmla="*/ 1198 w 1600"/>
                <a:gd name="T67" fmla="*/ 804 h 1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0" h="1598">
                  <a:moveTo>
                    <a:pt x="1600" y="797"/>
                  </a:moveTo>
                  <a:cubicBezTo>
                    <a:pt x="1600" y="1243"/>
                    <a:pt x="1247" y="1598"/>
                    <a:pt x="801" y="1598"/>
                  </a:cubicBezTo>
                  <a:cubicBezTo>
                    <a:pt x="357" y="1598"/>
                    <a:pt x="0" y="1243"/>
                    <a:pt x="0" y="797"/>
                  </a:cubicBezTo>
                  <a:cubicBezTo>
                    <a:pt x="0" y="355"/>
                    <a:pt x="357" y="0"/>
                    <a:pt x="801" y="0"/>
                  </a:cubicBezTo>
                  <a:cubicBezTo>
                    <a:pt x="1247" y="0"/>
                    <a:pt x="1600" y="355"/>
                    <a:pt x="1600" y="797"/>
                  </a:cubicBezTo>
                  <a:close/>
                  <a:moveTo>
                    <a:pt x="414" y="1001"/>
                  </a:moveTo>
                  <a:cubicBezTo>
                    <a:pt x="404" y="940"/>
                    <a:pt x="399" y="871"/>
                    <a:pt x="399" y="804"/>
                  </a:cubicBezTo>
                  <a:cubicBezTo>
                    <a:pt x="399" y="755"/>
                    <a:pt x="402" y="715"/>
                    <a:pt x="406" y="669"/>
                  </a:cubicBezTo>
                  <a:cubicBezTo>
                    <a:pt x="293" y="646"/>
                    <a:pt x="227" y="629"/>
                    <a:pt x="175" y="607"/>
                  </a:cubicBezTo>
                  <a:cubicBezTo>
                    <a:pt x="158" y="666"/>
                    <a:pt x="148" y="733"/>
                    <a:pt x="148" y="797"/>
                  </a:cubicBezTo>
                  <a:cubicBezTo>
                    <a:pt x="148" y="829"/>
                    <a:pt x="148" y="861"/>
                    <a:pt x="153" y="888"/>
                  </a:cubicBezTo>
                  <a:cubicBezTo>
                    <a:pt x="185" y="925"/>
                    <a:pt x="266" y="974"/>
                    <a:pt x="414" y="1001"/>
                  </a:cubicBezTo>
                  <a:close/>
                  <a:moveTo>
                    <a:pt x="550" y="1398"/>
                  </a:moveTo>
                  <a:cubicBezTo>
                    <a:pt x="493" y="1319"/>
                    <a:pt x="456" y="1218"/>
                    <a:pt x="431" y="1100"/>
                  </a:cubicBezTo>
                  <a:cubicBezTo>
                    <a:pt x="333" y="1078"/>
                    <a:pt x="244" y="1051"/>
                    <a:pt x="185" y="1019"/>
                  </a:cubicBezTo>
                  <a:cubicBezTo>
                    <a:pt x="222" y="1110"/>
                    <a:pt x="268" y="1191"/>
                    <a:pt x="340" y="1258"/>
                  </a:cubicBezTo>
                  <a:cubicBezTo>
                    <a:pt x="399" y="1322"/>
                    <a:pt x="473" y="1366"/>
                    <a:pt x="550" y="1398"/>
                  </a:cubicBezTo>
                  <a:close/>
                  <a:moveTo>
                    <a:pt x="212" y="521"/>
                  </a:moveTo>
                  <a:cubicBezTo>
                    <a:pt x="234" y="540"/>
                    <a:pt x="271" y="543"/>
                    <a:pt x="416" y="582"/>
                  </a:cubicBezTo>
                  <a:cubicBezTo>
                    <a:pt x="443" y="424"/>
                    <a:pt x="490" y="294"/>
                    <a:pt x="564" y="195"/>
                  </a:cubicBezTo>
                  <a:cubicBezTo>
                    <a:pt x="480" y="235"/>
                    <a:pt x="407" y="269"/>
                    <a:pt x="340" y="341"/>
                  </a:cubicBezTo>
                  <a:cubicBezTo>
                    <a:pt x="283" y="392"/>
                    <a:pt x="241" y="457"/>
                    <a:pt x="212" y="521"/>
                  </a:cubicBezTo>
                  <a:close/>
                  <a:moveTo>
                    <a:pt x="503" y="1019"/>
                  </a:moveTo>
                  <a:cubicBezTo>
                    <a:pt x="587" y="1033"/>
                    <a:pt x="668" y="1041"/>
                    <a:pt x="752" y="1043"/>
                  </a:cubicBezTo>
                  <a:cubicBezTo>
                    <a:pt x="752" y="696"/>
                    <a:pt x="752" y="696"/>
                    <a:pt x="752" y="696"/>
                  </a:cubicBezTo>
                  <a:cubicBezTo>
                    <a:pt x="663" y="693"/>
                    <a:pt x="574" y="688"/>
                    <a:pt x="490" y="678"/>
                  </a:cubicBezTo>
                  <a:cubicBezTo>
                    <a:pt x="490" y="723"/>
                    <a:pt x="488" y="760"/>
                    <a:pt x="488" y="804"/>
                  </a:cubicBezTo>
                  <a:cubicBezTo>
                    <a:pt x="488" y="876"/>
                    <a:pt x="493" y="952"/>
                    <a:pt x="503" y="1019"/>
                  </a:cubicBezTo>
                  <a:close/>
                  <a:moveTo>
                    <a:pt x="503" y="595"/>
                  </a:moveTo>
                  <a:cubicBezTo>
                    <a:pt x="584" y="602"/>
                    <a:pt x="668" y="607"/>
                    <a:pt x="752" y="609"/>
                  </a:cubicBezTo>
                  <a:cubicBezTo>
                    <a:pt x="752" y="151"/>
                    <a:pt x="752" y="151"/>
                    <a:pt x="752" y="151"/>
                  </a:cubicBezTo>
                  <a:cubicBezTo>
                    <a:pt x="752" y="151"/>
                    <a:pt x="749" y="151"/>
                    <a:pt x="747" y="151"/>
                  </a:cubicBezTo>
                  <a:cubicBezTo>
                    <a:pt x="636" y="195"/>
                    <a:pt x="542" y="368"/>
                    <a:pt x="503" y="595"/>
                  </a:cubicBezTo>
                  <a:close/>
                  <a:moveTo>
                    <a:pt x="752" y="1448"/>
                  </a:moveTo>
                  <a:cubicBezTo>
                    <a:pt x="752" y="1130"/>
                    <a:pt x="752" y="1130"/>
                    <a:pt x="752" y="1130"/>
                  </a:cubicBezTo>
                  <a:cubicBezTo>
                    <a:pt x="675" y="1127"/>
                    <a:pt x="599" y="1122"/>
                    <a:pt x="525" y="1115"/>
                  </a:cubicBezTo>
                  <a:cubicBezTo>
                    <a:pt x="540" y="1179"/>
                    <a:pt x="562" y="1236"/>
                    <a:pt x="591" y="1287"/>
                  </a:cubicBezTo>
                  <a:cubicBezTo>
                    <a:pt x="628" y="1376"/>
                    <a:pt x="685" y="1448"/>
                    <a:pt x="752" y="1448"/>
                  </a:cubicBezTo>
                  <a:close/>
                  <a:moveTo>
                    <a:pt x="845" y="151"/>
                  </a:moveTo>
                  <a:cubicBezTo>
                    <a:pt x="845" y="609"/>
                    <a:pt x="845" y="609"/>
                    <a:pt x="845" y="609"/>
                  </a:cubicBezTo>
                  <a:cubicBezTo>
                    <a:pt x="932" y="607"/>
                    <a:pt x="1013" y="602"/>
                    <a:pt x="1097" y="595"/>
                  </a:cubicBezTo>
                  <a:cubicBezTo>
                    <a:pt x="1065" y="417"/>
                    <a:pt x="993" y="262"/>
                    <a:pt x="909" y="185"/>
                  </a:cubicBezTo>
                  <a:cubicBezTo>
                    <a:pt x="887" y="171"/>
                    <a:pt x="863" y="151"/>
                    <a:pt x="845" y="151"/>
                  </a:cubicBezTo>
                  <a:close/>
                  <a:moveTo>
                    <a:pt x="1094" y="1021"/>
                  </a:moveTo>
                  <a:cubicBezTo>
                    <a:pt x="1107" y="955"/>
                    <a:pt x="1109" y="878"/>
                    <a:pt x="1109" y="804"/>
                  </a:cubicBezTo>
                  <a:cubicBezTo>
                    <a:pt x="1109" y="760"/>
                    <a:pt x="1109" y="723"/>
                    <a:pt x="1107" y="681"/>
                  </a:cubicBezTo>
                  <a:cubicBezTo>
                    <a:pt x="1023" y="688"/>
                    <a:pt x="937" y="693"/>
                    <a:pt x="845" y="696"/>
                  </a:cubicBezTo>
                  <a:cubicBezTo>
                    <a:pt x="845" y="1043"/>
                    <a:pt x="845" y="1043"/>
                    <a:pt x="845" y="1043"/>
                  </a:cubicBezTo>
                  <a:cubicBezTo>
                    <a:pt x="932" y="1041"/>
                    <a:pt x="1013" y="1033"/>
                    <a:pt x="1094" y="1021"/>
                  </a:cubicBezTo>
                  <a:close/>
                  <a:moveTo>
                    <a:pt x="1075" y="1115"/>
                  </a:moveTo>
                  <a:cubicBezTo>
                    <a:pt x="998" y="1122"/>
                    <a:pt x="922" y="1127"/>
                    <a:pt x="845" y="1130"/>
                  </a:cubicBezTo>
                  <a:cubicBezTo>
                    <a:pt x="845" y="1448"/>
                    <a:pt x="845" y="1448"/>
                    <a:pt x="845" y="1448"/>
                  </a:cubicBezTo>
                  <a:cubicBezTo>
                    <a:pt x="974" y="1448"/>
                    <a:pt x="1043" y="1226"/>
                    <a:pt x="1075" y="1115"/>
                  </a:cubicBezTo>
                  <a:close/>
                  <a:moveTo>
                    <a:pt x="1035" y="193"/>
                  </a:moveTo>
                  <a:cubicBezTo>
                    <a:pt x="1109" y="289"/>
                    <a:pt x="1156" y="424"/>
                    <a:pt x="1181" y="585"/>
                  </a:cubicBezTo>
                  <a:cubicBezTo>
                    <a:pt x="1314" y="560"/>
                    <a:pt x="1368" y="538"/>
                    <a:pt x="1388" y="523"/>
                  </a:cubicBezTo>
                  <a:cubicBezTo>
                    <a:pt x="1319" y="370"/>
                    <a:pt x="1188" y="247"/>
                    <a:pt x="1035" y="193"/>
                  </a:cubicBezTo>
                  <a:close/>
                  <a:moveTo>
                    <a:pt x="1407" y="1028"/>
                  </a:moveTo>
                  <a:cubicBezTo>
                    <a:pt x="1343" y="1058"/>
                    <a:pt x="1260" y="1083"/>
                    <a:pt x="1168" y="1102"/>
                  </a:cubicBezTo>
                  <a:cubicBezTo>
                    <a:pt x="1141" y="1221"/>
                    <a:pt x="1107" y="1317"/>
                    <a:pt x="1047" y="1398"/>
                  </a:cubicBezTo>
                  <a:cubicBezTo>
                    <a:pt x="1124" y="1366"/>
                    <a:pt x="1200" y="1322"/>
                    <a:pt x="1260" y="1258"/>
                  </a:cubicBezTo>
                  <a:cubicBezTo>
                    <a:pt x="1329" y="1194"/>
                    <a:pt x="1375" y="1115"/>
                    <a:pt x="1407" y="1028"/>
                  </a:cubicBezTo>
                  <a:close/>
                  <a:moveTo>
                    <a:pt x="1198" y="804"/>
                  </a:moveTo>
                  <a:cubicBezTo>
                    <a:pt x="1198" y="871"/>
                    <a:pt x="1193" y="942"/>
                    <a:pt x="1186" y="1004"/>
                  </a:cubicBezTo>
                  <a:cubicBezTo>
                    <a:pt x="1442" y="962"/>
                    <a:pt x="1452" y="903"/>
                    <a:pt x="1452" y="797"/>
                  </a:cubicBezTo>
                  <a:cubicBezTo>
                    <a:pt x="1452" y="735"/>
                    <a:pt x="1442" y="669"/>
                    <a:pt x="1422" y="609"/>
                  </a:cubicBezTo>
                  <a:cubicBezTo>
                    <a:pt x="1375" y="629"/>
                    <a:pt x="1292" y="659"/>
                    <a:pt x="1193" y="669"/>
                  </a:cubicBezTo>
                  <a:cubicBezTo>
                    <a:pt x="1198" y="715"/>
                    <a:pt x="1198" y="755"/>
                    <a:pt x="1198" y="804"/>
                  </a:cubicBez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defTabSz="896175"/>
              <a:endParaRPr lang="en-US" sz="1667" dirty="0">
                <a:solidFill>
                  <a:srgbClr val="000000"/>
                </a:solidFill>
                <a:latin typeface="Segoe UI"/>
              </a:endParaRPr>
            </a:p>
          </p:txBody>
        </p:sp>
      </p:grpSp>
      <p:grpSp>
        <p:nvGrpSpPr>
          <p:cNvPr id="27" name="Group 26"/>
          <p:cNvGrpSpPr/>
          <p:nvPr/>
        </p:nvGrpSpPr>
        <p:grpSpPr>
          <a:xfrm>
            <a:off x="6142310" y="4698936"/>
            <a:ext cx="1487328" cy="1487329"/>
            <a:chOff x="6265476" y="4792662"/>
            <a:chExt cx="1517152" cy="1517153"/>
          </a:xfrm>
        </p:grpSpPr>
        <p:sp>
          <p:nvSpPr>
            <p:cNvPr id="100" name="Rectangle 99"/>
            <p:cNvSpPr/>
            <p:nvPr/>
          </p:nvSpPr>
          <p:spPr bwMode="auto">
            <a:xfrm>
              <a:off x="6265476" y="4792662"/>
              <a:ext cx="1517152" cy="151715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44821" numCol="1" spcCol="0" rtlCol="0" fromWordArt="0" anchor="b" anchorCtr="0" forceAA="0" compatLnSpc="1">
              <a:prstTxWarp prst="textNoShape">
                <a:avLst/>
              </a:prstTxWarp>
              <a:noAutofit/>
            </a:bodyPr>
            <a:lstStyle/>
            <a:p>
              <a:pPr defTabSz="914102" fontAlgn="base">
                <a:lnSpc>
                  <a:spcPct val="90000"/>
                </a:lnSpc>
                <a:spcBef>
                  <a:spcPct val="0"/>
                </a:spcBef>
                <a:spcAft>
                  <a:spcPct val="0"/>
                </a:spcAft>
              </a:pPr>
              <a:r>
                <a:rPr lang="en-US" sz="1372" kern="0" dirty="0">
                  <a:solidFill>
                    <a:sysClr val="window" lastClr="FFFFFF"/>
                  </a:solidFill>
                  <a:latin typeface="Segoe UI"/>
                  <a:cs typeface="Segoe UI" pitchFamily="34" charset="0"/>
                </a:rPr>
                <a:t>Network intrusion detection</a:t>
              </a:r>
            </a:p>
          </p:txBody>
        </p:sp>
        <p:sp>
          <p:nvSpPr>
            <p:cNvPr id="152" name="Freeform 89"/>
            <p:cNvSpPr>
              <a:spLocks noEditPoints="1"/>
            </p:cNvSpPr>
            <p:nvPr/>
          </p:nvSpPr>
          <p:spPr bwMode="black">
            <a:xfrm>
              <a:off x="6654307" y="5028815"/>
              <a:ext cx="719091" cy="462897"/>
            </a:xfrm>
            <a:custGeom>
              <a:avLst/>
              <a:gdLst>
                <a:gd name="T0" fmla="*/ 350 w 3153"/>
                <a:gd name="T1" fmla="*/ 935 h 2031"/>
                <a:gd name="T2" fmla="*/ 788 w 3153"/>
                <a:gd name="T3" fmla="*/ 0 h 2031"/>
                <a:gd name="T4" fmla="*/ 2918 w 3153"/>
                <a:gd name="T5" fmla="*/ 1882 h 2031"/>
                <a:gd name="T6" fmla="*/ 2403 w 3153"/>
                <a:gd name="T7" fmla="*/ 1493 h 2031"/>
                <a:gd name="T8" fmla="*/ 2244 w 3153"/>
                <a:gd name="T9" fmla="*/ 1424 h 2031"/>
                <a:gd name="T10" fmla="*/ 2391 w 3153"/>
                <a:gd name="T11" fmla="*/ 1458 h 2031"/>
                <a:gd name="T12" fmla="*/ 1437 w 3153"/>
                <a:gd name="T13" fmla="*/ 1486 h 2031"/>
                <a:gd name="T14" fmla="*/ 1460 w 3153"/>
                <a:gd name="T15" fmla="*/ 1427 h 2031"/>
                <a:gd name="T16" fmla="*/ 1588 w 3153"/>
                <a:gd name="T17" fmla="*/ 1440 h 2031"/>
                <a:gd name="T18" fmla="*/ 1563 w 3153"/>
                <a:gd name="T19" fmla="*/ 1636 h 2031"/>
                <a:gd name="T20" fmla="*/ 1421 w 3153"/>
                <a:gd name="T21" fmla="*/ 1612 h 2031"/>
                <a:gd name="T22" fmla="*/ 1170 w 3153"/>
                <a:gd name="T23" fmla="*/ 1604 h 2031"/>
                <a:gd name="T24" fmla="*/ 1340 w 3153"/>
                <a:gd name="T25" fmla="*/ 1589 h 2031"/>
                <a:gd name="T26" fmla="*/ 1175 w 3153"/>
                <a:gd name="T27" fmla="*/ 1631 h 2031"/>
                <a:gd name="T28" fmla="*/ 1228 w 3153"/>
                <a:gd name="T29" fmla="*/ 1433 h 2031"/>
                <a:gd name="T30" fmla="*/ 1366 w 3153"/>
                <a:gd name="T31" fmla="*/ 1441 h 2031"/>
                <a:gd name="T32" fmla="*/ 916 w 3153"/>
                <a:gd name="T33" fmla="*/ 1607 h 2031"/>
                <a:gd name="T34" fmla="*/ 1099 w 3153"/>
                <a:gd name="T35" fmla="*/ 1564 h 2031"/>
                <a:gd name="T36" fmla="*/ 911 w 3153"/>
                <a:gd name="T37" fmla="*/ 1624 h 2031"/>
                <a:gd name="T38" fmla="*/ 832 w 3153"/>
                <a:gd name="T39" fmla="*/ 1503 h 2031"/>
                <a:gd name="T40" fmla="*/ 922 w 3153"/>
                <a:gd name="T41" fmla="*/ 1437 h 2031"/>
                <a:gd name="T42" fmla="*/ 999 w 3153"/>
                <a:gd name="T43" fmla="*/ 1440 h 2031"/>
                <a:gd name="T44" fmla="*/ 1143 w 3153"/>
                <a:gd name="T45" fmla="*/ 1436 h 2031"/>
                <a:gd name="T46" fmla="*/ 1113 w 3153"/>
                <a:gd name="T47" fmla="*/ 1496 h 2031"/>
                <a:gd name="T48" fmla="*/ 692 w 3153"/>
                <a:gd name="T49" fmla="*/ 1804 h 2031"/>
                <a:gd name="T50" fmla="*/ 574 w 3153"/>
                <a:gd name="T51" fmla="*/ 1739 h 2031"/>
                <a:gd name="T52" fmla="*/ 656 w 3153"/>
                <a:gd name="T53" fmla="*/ 1687 h 2031"/>
                <a:gd name="T54" fmla="*/ 823 w 3153"/>
                <a:gd name="T55" fmla="*/ 1619 h 2031"/>
                <a:gd name="T56" fmla="*/ 669 w 3153"/>
                <a:gd name="T57" fmla="*/ 1638 h 2031"/>
                <a:gd name="T58" fmla="*/ 713 w 3153"/>
                <a:gd name="T59" fmla="*/ 1551 h 2031"/>
                <a:gd name="T60" fmla="*/ 828 w 3153"/>
                <a:gd name="T61" fmla="*/ 1613 h 2031"/>
                <a:gd name="T62" fmla="*/ 1570 w 3153"/>
                <a:gd name="T63" fmla="*/ 1798 h 2031"/>
                <a:gd name="T64" fmla="*/ 850 w 3153"/>
                <a:gd name="T65" fmla="*/ 1803 h 2031"/>
                <a:gd name="T66" fmla="*/ 882 w 3153"/>
                <a:gd name="T67" fmla="*/ 1698 h 2031"/>
                <a:gd name="T68" fmla="*/ 1563 w 3153"/>
                <a:gd name="T69" fmla="*/ 1687 h 2031"/>
                <a:gd name="T70" fmla="*/ 1670 w 3153"/>
                <a:gd name="T71" fmla="*/ 1489 h 2031"/>
                <a:gd name="T72" fmla="*/ 1693 w 3153"/>
                <a:gd name="T73" fmla="*/ 1424 h 2031"/>
                <a:gd name="T74" fmla="*/ 1793 w 3153"/>
                <a:gd name="T75" fmla="*/ 1500 h 2031"/>
                <a:gd name="T76" fmla="*/ 1675 w 3153"/>
                <a:gd name="T77" fmla="*/ 1612 h 2031"/>
                <a:gd name="T78" fmla="*/ 1843 w 3153"/>
                <a:gd name="T79" fmla="*/ 1621 h 2031"/>
                <a:gd name="T80" fmla="*/ 1804 w 3153"/>
                <a:gd name="T81" fmla="*/ 1637 h 2031"/>
                <a:gd name="T82" fmla="*/ 1866 w 3153"/>
                <a:gd name="T83" fmla="*/ 1793 h 2031"/>
                <a:gd name="T84" fmla="*/ 1690 w 3153"/>
                <a:gd name="T85" fmla="*/ 1778 h 2031"/>
                <a:gd name="T86" fmla="*/ 1686 w 3153"/>
                <a:gd name="T87" fmla="*/ 1702 h 2031"/>
                <a:gd name="T88" fmla="*/ 1724 w 3153"/>
                <a:gd name="T89" fmla="*/ 1685 h 2031"/>
                <a:gd name="T90" fmla="*/ 1843 w 3153"/>
                <a:gd name="T91" fmla="*/ 1691 h 2031"/>
                <a:gd name="T92" fmla="*/ 2009 w 3153"/>
                <a:gd name="T93" fmla="*/ 1439 h 2031"/>
                <a:gd name="T94" fmla="*/ 2140 w 3153"/>
                <a:gd name="T95" fmla="*/ 1428 h 2031"/>
                <a:gd name="T96" fmla="*/ 2161 w 3153"/>
                <a:gd name="T97" fmla="*/ 1499 h 2031"/>
                <a:gd name="T98" fmla="*/ 2064 w 3153"/>
                <a:gd name="T99" fmla="*/ 1588 h 2031"/>
                <a:gd name="T100" fmla="*/ 2218 w 3153"/>
                <a:gd name="T101" fmla="*/ 1565 h 2031"/>
                <a:gd name="T102" fmla="*/ 2225 w 3153"/>
                <a:gd name="T103" fmla="*/ 1634 h 2031"/>
                <a:gd name="T104" fmla="*/ 2319 w 3153"/>
                <a:gd name="T105" fmla="*/ 1790 h 2031"/>
                <a:gd name="T106" fmla="*/ 2131 w 3153"/>
                <a:gd name="T107" fmla="*/ 1770 h 2031"/>
                <a:gd name="T108" fmla="*/ 2145 w 3153"/>
                <a:gd name="T109" fmla="*/ 1683 h 2031"/>
                <a:gd name="T110" fmla="*/ 2340 w 3153"/>
                <a:gd name="T111" fmla="*/ 1624 h 2031"/>
                <a:gd name="T112" fmla="*/ 2463 w 3153"/>
                <a:gd name="T113" fmla="*/ 1564 h 2031"/>
                <a:gd name="T114" fmla="*/ 2434 w 3153"/>
                <a:gd name="T115" fmla="*/ 1636 h 2031"/>
                <a:gd name="T116" fmla="*/ 2415 w 3153"/>
                <a:gd name="T117" fmla="*/ 1769 h 2031"/>
                <a:gd name="T118" fmla="*/ 2500 w 3153"/>
                <a:gd name="T119" fmla="*/ 1683 h 2031"/>
                <a:gd name="T120" fmla="*/ 2605 w 3153"/>
                <a:gd name="T121" fmla="*/ 1791 h 2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53" h="2031">
                  <a:moveTo>
                    <a:pt x="448" y="830"/>
                  </a:moveTo>
                  <a:cubicBezTo>
                    <a:pt x="368" y="755"/>
                    <a:pt x="368" y="615"/>
                    <a:pt x="448" y="539"/>
                  </a:cubicBezTo>
                  <a:cubicBezTo>
                    <a:pt x="393" y="549"/>
                    <a:pt x="339" y="610"/>
                    <a:pt x="339" y="685"/>
                  </a:cubicBezTo>
                  <a:cubicBezTo>
                    <a:pt x="339" y="759"/>
                    <a:pt x="393" y="820"/>
                    <a:pt x="448" y="830"/>
                  </a:cubicBezTo>
                  <a:close/>
                  <a:moveTo>
                    <a:pt x="2814" y="685"/>
                  </a:moveTo>
                  <a:cubicBezTo>
                    <a:pt x="2815" y="610"/>
                    <a:pt x="2761" y="549"/>
                    <a:pt x="2706" y="539"/>
                  </a:cubicBezTo>
                  <a:cubicBezTo>
                    <a:pt x="2786" y="615"/>
                    <a:pt x="2786" y="755"/>
                    <a:pt x="2706" y="830"/>
                  </a:cubicBezTo>
                  <a:cubicBezTo>
                    <a:pt x="2761" y="820"/>
                    <a:pt x="2815" y="759"/>
                    <a:pt x="2814" y="685"/>
                  </a:cubicBezTo>
                  <a:close/>
                  <a:moveTo>
                    <a:pt x="2804" y="935"/>
                  </a:moveTo>
                  <a:cubicBezTo>
                    <a:pt x="2886" y="904"/>
                    <a:pt x="2970" y="808"/>
                    <a:pt x="2969" y="685"/>
                  </a:cubicBezTo>
                  <a:cubicBezTo>
                    <a:pt x="2970" y="561"/>
                    <a:pt x="2886" y="465"/>
                    <a:pt x="2804" y="434"/>
                  </a:cubicBezTo>
                  <a:cubicBezTo>
                    <a:pt x="2871" y="501"/>
                    <a:pt x="2915" y="591"/>
                    <a:pt x="2914" y="685"/>
                  </a:cubicBezTo>
                  <a:cubicBezTo>
                    <a:pt x="2915" y="778"/>
                    <a:pt x="2871" y="868"/>
                    <a:pt x="2804" y="935"/>
                  </a:cubicBezTo>
                  <a:close/>
                  <a:moveTo>
                    <a:pt x="350" y="935"/>
                  </a:moveTo>
                  <a:cubicBezTo>
                    <a:pt x="282" y="868"/>
                    <a:pt x="239" y="778"/>
                    <a:pt x="239" y="685"/>
                  </a:cubicBezTo>
                  <a:cubicBezTo>
                    <a:pt x="239" y="591"/>
                    <a:pt x="282" y="501"/>
                    <a:pt x="350" y="434"/>
                  </a:cubicBezTo>
                  <a:cubicBezTo>
                    <a:pt x="267" y="465"/>
                    <a:pt x="183" y="561"/>
                    <a:pt x="184" y="685"/>
                  </a:cubicBezTo>
                  <a:cubicBezTo>
                    <a:pt x="183" y="808"/>
                    <a:pt x="267" y="904"/>
                    <a:pt x="350" y="935"/>
                  </a:cubicBezTo>
                  <a:close/>
                  <a:moveTo>
                    <a:pt x="2877" y="1804"/>
                  </a:moveTo>
                  <a:cubicBezTo>
                    <a:pt x="2844" y="1765"/>
                    <a:pt x="2811" y="1726"/>
                    <a:pt x="2778" y="1687"/>
                  </a:cubicBezTo>
                  <a:cubicBezTo>
                    <a:pt x="2705" y="1601"/>
                    <a:pt x="2633" y="1516"/>
                    <a:pt x="2560" y="1430"/>
                  </a:cubicBezTo>
                  <a:cubicBezTo>
                    <a:pt x="2557" y="1426"/>
                    <a:pt x="2553" y="1421"/>
                    <a:pt x="2549" y="1417"/>
                  </a:cubicBezTo>
                  <a:cubicBezTo>
                    <a:pt x="2534" y="1399"/>
                    <a:pt x="2511" y="1389"/>
                    <a:pt x="2489" y="1381"/>
                  </a:cubicBezTo>
                  <a:cubicBezTo>
                    <a:pt x="2466" y="1373"/>
                    <a:pt x="2441" y="1368"/>
                    <a:pt x="2416" y="1367"/>
                  </a:cubicBezTo>
                  <a:cubicBezTo>
                    <a:pt x="2503" y="1344"/>
                    <a:pt x="2567" y="1266"/>
                    <a:pt x="2567" y="1172"/>
                  </a:cubicBezTo>
                  <a:cubicBezTo>
                    <a:pt x="2567" y="202"/>
                    <a:pt x="2567" y="202"/>
                    <a:pt x="2567" y="202"/>
                  </a:cubicBezTo>
                  <a:cubicBezTo>
                    <a:pt x="2567" y="90"/>
                    <a:pt x="2476" y="0"/>
                    <a:pt x="2365" y="0"/>
                  </a:cubicBezTo>
                  <a:cubicBezTo>
                    <a:pt x="788" y="0"/>
                    <a:pt x="788" y="0"/>
                    <a:pt x="788" y="0"/>
                  </a:cubicBezTo>
                  <a:cubicBezTo>
                    <a:pt x="677" y="0"/>
                    <a:pt x="586" y="90"/>
                    <a:pt x="586" y="202"/>
                  </a:cubicBezTo>
                  <a:cubicBezTo>
                    <a:pt x="586" y="1172"/>
                    <a:pt x="586" y="1172"/>
                    <a:pt x="586" y="1172"/>
                  </a:cubicBezTo>
                  <a:cubicBezTo>
                    <a:pt x="586" y="1266"/>
                    <a:pt x="651" y="1345"/>
                    <a:pt x="738" y="1368"/>
                  </a:cubicBezTo>
                  <a:cubicBezTo>
                    <a:pt x="689" y="1370"/>
                    <a:pt x="633" y="1388"/>
                    <a:pt x="600" y="1426"/>
                  </a:cubicBezTo>
                  <a:cubicBezTo>
                    <a:pt x="575" y="1457"/>
                    <a:pt x="549" y="1487"/>
                    <a:pt x="524" y="1518"/>
                  </a:cubicBezTo>
                  <a:cubicBezTo>
                    <a:pt x="446" y="1610"/>
                    <a:pt x="368" y="1703"/>
                    <a:pt x="290" y="1796"/>
                  </a:cubicBezTo>
                  <a:cubicBezTo>
                    <a:pt x="271" y="1819"/>
                    <a:pt x="235" y="1852"/>
                    <a:pt x="235" y="1884"/>
                  </a:cubicBezTo>
                  <a:cubicBezTo>
                    <a:pt x="235" y="1971"/>
                    <a:pt x="235" y="1971"/>
                    <a:pt x="235" y="1971"/>
                  </a:cubicBezTo>
                  <a:cubicBezTo>
                    <a:pt x="236" y="1982"/>
                    <a:pt x="238" y="1993"/>
                    <a:pt x="244" y="2002"/>
                  </a:cubicBezTo>
                  <a:cubicBezTo>
                    <a:pt x="264" y="2030"/>
                    <a:pt x="304" y="2031"/>
                    <a:pt x="336" y="2031"/>
                  </a:cubicBezTo>
                  <a:cubicBezTo>
                    <a:pt x="380" y="2031"/>
                    <a:pt x="2688" y="2031"/>
                    <a:pt x="2758" y="2031"/>
                  </a:cubicBezTo>
                  <a:cubicBezTo>
                    <a:pt x="2792" y="2031"/>
                    <a:pt x="2831" y="2027"/>
                    <a:pt x="2865" y="2020"/>
                  </a:cubicBezTo>
                  <a:cubicBezTo>
                    <a:pt x="2888" y="2016"/>
                    <a:pt x="2915" y="2003"/>
                    <a:pt x="2918" y="1976"/>
                  </a:cubicBezTo>
                  <a:cubicBezTo>
                    <a:pt x="2918" y="1882"/>
                    <a:pt x="2918" y="1882"/>
                    <a:pt x="2918" y="1882"/>
                  </a:cubicBezTo>
                  <a:cubicBezTo>
                    <a:pt x="2921" y="1861"/>
                    <a:pt x="2909" y="1841"/>
                    <a:pt x="2896" y="1826"/>
                  </a:cubicBezTo>
                  <a:cubicBezTo>
                    <a:pt x="2889" y="1818"/>
                    <a:pt x="2883" y="1811"/>
                    <a:pt x="2877" y="1804"/>
                  </a:cubicBezTo>
                  <a:close/>
                  <a:moveTo>
                    <a:pt x="705" y="1159"/>
                  </a:moveTo>
                  <a:cubicBezTo>
                    <a:pt x="705" y="215"/>
                    <a:pt x="705" y="215"/>
                    <a:pt x="705" y="215"/>
                  </a:cubicBezTo>
                  <a:cubicBezTo>
                    <a:pt x="705" y="157"/>
                    <a:pt x="752" y="111"/>
                    <a:pt x="809" y="111"/>
                  </a:cubicBezTo>
                  <a:cubicBezTo>
                    <a:pt x="2344" y="111"/>
                    <a:pt x="2344" y="111"/>
                    <a:pt x="2344" y="111"/>
                  </a:cubicBezTo>
                  <a:cubicBezTo>
                    <a:pt x="2401" y="111"/>
                    <a:pt x="2448" y="157"/>
                    <a:pt x="2448" y="215"/>
                  </a:cubicBezTo>
                  <a:cubicBezTo>
                    <a:pt x="2448" y="1159"/>
                    <a:pt x="2448" y="1159"/>
                    <a:pt x="2448" y="1159"/>
                  </a:cubicBezTo>
                  <a:cubicBezTo>
                    <a:pt x="2448" y="1216"/>
                    <a:pt x="2401" y="1263"/>
                    <a:pt x="2344" y="1263"/>
                  </a:cubicBezTo>
                  <a:cubicBezTo>
                    <a:pt x="809" y="1263"/>
                    <a:pt x="809" y="1263"/>
                    <a:pt x="809" y="1263"/>
                  </a:cubicBezTo>
                  <a:cubicBezTo>
                    <a:pt x="752" y="1263"/>
                    <a:pt x="705" y="1216"/>
                    <a:pt x="705" y="1159"/>
                  </a:cubicBezTo>
                  <a:close/>
                  <a:moveTo>
                    <a:pt x="2407" y="1487"/>
                  </a:moveTo>
                  <a:cubicBezTo>
                    <a:pt x="2407" y="1489"/>
                    <a:pt x="2406" y="1491"/>
                    <a:pt x="2404" y="1493"/>
                  </a:cubicBezTo>
                  <a:cubicBezTo>
                    <a:pt x="2404" y="1493"/>
                    <a:pt x="2403" y="1493"/>
                    <a:pt x="2403" y="1493"/>
                  </a:cubicBezTo>
                  <a:cubicBezTo>
                    <a:pt x="2403" y="1493"/>
                    <a:pt x="2403" y="1493"/>
                    <a:pt x="2403" y="1493"/>
                  </a:cubicBezTo>
                  <a:cubicBezTo>
                    <a:pt x="2403" y="1494"/>
                    <a:pt x="2403" y="1494"/>
                    <a:pt x="2402" y="1494"/>
                  </a:cubicBezTo>
                  <a:cubicBezTo>
                    <a:pt x="2402" y="1494"/>
                    <a:pt x="2402" y="1494"/>
                    <a:pt x="2401" y="1495"/>
                  </a:cubicBezTo>
                  <a:cubicBezTo>
                    <a:pt x="2401" y="1495"/>
                    <a:pt x="2400" y="1495"/>
                    <a:pt x="2400" y="1496"/>
                  </a:cubicBezTo>
                  <a:cubicBezTo>
                    <a:pt x="2399" y="1496"/>
                    <a:pt x="2399" y="1496"/>
                    <a:pt x="2398" y="1496"/>
                  </a:cubicBezTo>
                  <a:cubicBezTo>
                    <a:pt x="2388" y="1501"/>
                    <a:pt x="2374" y="1500"/>
                    <a:pt x="2362" y="1500"/>
                  </a:cubicBezTo>
                  <a:cubicBezTo>
                    <a:pt x="2304" y="1500"/>
                    <a:pt x="2304" y="1500"/>
                    <a:pt x="2304" y="1500"/>
                  </a:cubicBezTo>
                  <a:cubicBezTo>
                    <a:pt x="2293" y="1500"/>
                    <a:pt x="2281" y="1498"/>
                    <a:pt x="2271" y="1493"/>
                  </a:cubicBezTo>
                  <a:cubicBezTo>
                    <a:pt x="2267" y="1491"/>
                    <a:pt x="2263" y="1489"/>
                    <a:pt x="2260" y="1487"/>
                  </a:cubicBezTo>
                  <a:cubicBezTo>
                    <a:pt x="2257" y="1484"/>
                    <a:pt x="2254" y="1482"/>
                    <a:pt x="2252" y="1479"/>
                  </a:cubicBezTo>
                  <a:cubicBezTo>
                    <a:pt x="2250" y="1474"/>
                    <a:pt x="2250" y="1474"/>
                    <a:pt x="2250" y="1474"/>
                  </a:cubicBezTo>
                  <a:cubicBezTo>
                    <a:pt x="2244" y="1463"/>
                    <a:pt x="2236" y="1453"/>
                    <a:pt x="2231" y="1441"/>
                  </a:cubicBezTo>
                  <a:cubicBezTo>
                    <a:pt x="2227" y="1433"/>
                    <a:pt x="2231" y="1429"/>
                    <a:pt x="2238" y="1426"/>
                  </a:cubicBezTo>
                  <a:cubicBezTo>
                    <a:pt x="2240" y="1425"/>
                    <a:pt x="2242" y="1424"/>
                    <a:pt x="2244" y="1424"/>
                  </a:cubicBezTo>
                  <a:cubicBezTo>
                    <a:pt x="2248" y="1423"/>
                    <a:pt x="2253" y="1422"/>
                    <a:pt x="2258" y="1422"/>
                  </a:cubicBezTo>
                  <a:cubicBezTo>
                    <a:pt x="2266" y="1422"/>
                    <a:pt x="2266" y="1422"/>
                    <a:pt x="2266" y="1422"/>
                  </a:cubicBezTo>
                  <a:cubicBezTo>
                    <a:pt x="2266" y="1422"/>
                    <a:pt x="2266" y="1422"/>
                    <a:pt x="2266" y="1422"/>
                  </a:cubicBezTo>
                  <a:cubicBezTo>
                    <a:pt x="2282" y="1422"/>
                    <a:pt x="2297" y="1422"/>
                    <a:pt x="2312" y="1422"/>
                  </a:cubicBezTo>
                  <a:cubicBezTo>
                    <a:pt x="2313" y="1422"/>
                    <a:pt x="2313" y="1422"/>
                    <a:pt x="2313" y="1422"/>
                  </a:cubicBezTo>
                  <a:cubicBezTo>
                    <a:pt x="2328" y="1422"/>
                    <a:pt x="2328" y="1422"/>
                    <a:pt x="2328" y="1422"/>
                  </a:cubicBezTo>
                  <a:cubicBezTo>
                    <a:pt x="2333" y="1422"/>
                    <a:pt x="2339" y="1422"/>
                    <a:pt x="2344" y="1423"/>
                  </a:cubicBezTo>
                  <a:cubicBezTo>
                    <a:pt x="2347" y="1424"/>
                    <a:pt x="2351" y="1425"/>
                    <a:pt x="2354" y="1426"/>
                  </a:cubicBezTo>
                  <a:cubicBezTo>
                    <a:pt x="2355" y="1426"/>
                    <a:pt x="2355" y="1426"/>
                    <a:pt x="2356" y="1426"/>
                  </a:cubicBezTo>
                  <a:cubicBezTo>
                    <a:pt x="2356" y="1427"/>
                    <a:pt x="2356" y="1427"/>
                    <a:pt x="2357" y="1427"/>
                  </a:cubicBezTo>
                  <a:cubicBezTo>
                    <a:pt x="2357" y="1427"/>
                    <a:pt x="2358" y="1427"/>
                    <a:pt x="2358" y="1427"/>
                  </a:cubicBezTo>
                  <a:cubicBezTo>
                    <a:pt x="2363" y="1429"/>
                    <a:pt x="2367" y="1431"/>
                    <a:pt x="2371" y="1433"/>
                  </a:cubicBezTo>
                  <a:cubicBezTo>
                    <a:pt x="2374" y="1436"/>
                    <a:pt x="2377" y="1438"/>
                    <a:pt x="2379" y="1441"/>
                  </a:cubicBezTo>
                  <a:cubicBezTo>
                    <a:pt x="2391" y="1458"/>
                    <a:pt x="2391" y="1458"/>
                    <a:pt x="2391" y="1458"/>
                  </a:cubicBezTo>
                  <a:cubicBezTo>
                    <a:pt x="2394" y="1463"/>
                    <a:pt x="2401" y="1471"/>
                    <a:pt x="2404" y="1478"/>
                  </a:cubicBezTo>
                  <a:cubicBezTo>
                    <a:pt x="2404" y="1478"/>
                    <a:pt x="2404" y="1478"/>
                    <a:pt x="2404" y="1478"/>
                  </a:cubicBezTo>
                  <a:cubicBezTo>
                    <a:pt x="2406" y="1481"/>
                    <a:pt x="2407" y="1484"/>
                    <a:pt x="2407" y="1487"/>
                  </a:cubicBezTo>
                  <a:close/>
                  <a:moveTo>
                    <a:pt x="1589" y="1480"/>
                  </a:moveTo>
                  <a:cubicBezTo>
                    <a:pt x="1589" y="1483"/>
                    <a:pt x="1588" y="1485"/>
                    <a:pt x="1587" y="1487"/>
                  </a:cubicBezTo>
                  <a:cubicBezTo>
                    <a:pt x="1576" y="1507"/>
                    <a:pt x="1525" y="1502"/>
                    <a:pt x="1507" y="1502"/>
                  </a:cubicBezTo>
                  <a:cubicBezTo>
                    <a:pt x="1496" y="1502"/>
                    <a:pt x="1485" y="1502"/>
                    <a:pt x="1474" y="1502"/>
                  </a:cubicBezTo>
                  <a:cubicBezTo>
                    <a:pt x="1464" y="1502"/>
                    <a:pt x="1451" y="1500"/>
                    <a:pt x="1442" y="1493"/>
                  </a:cubicBezTo>
                  <a:cubicBezTo>
                    <a:pt x="1442" y="1493"/>
                    <a:pt x="1441" y="1492"/>
                    <a:pt x="1441" y="1492"/>
                  </a:cubicBezTo>
                  <a:cubicBezTo>
                    <a:pt x="1441" y="1492"/>
                    <a:pt x="1440" y="1491"/>
                    <a:pt x="1440" y="1491"/>
                  </a:cubicBezTo>
                  <a:cubicBezTo>
                    <a:pt x="1439" y="1490"/>
                    <a:pt x="1439" y="1490"/>
                    <a:pt x="1439" y="1489"/>
                  </a:cubicBezTo>
                  <a:cubicBezTo>
                    <a:pt x="1439" y="1489"/>
                    <a:pt x="1439" y="1489"/>
                    <a:pt x="1438" y="1489"/>
                  </a:cubicBezTo>
                  <a:cubicBezTo>
                    <a:pt x="1438" y="1489"/>
                    <a:pt x="1438" y="1489"/>
                    <a:pt x="1438" y="1489"/>
                  </a:cubicBezTo>
                  <a:cubicBezTo>
                    <a:pt x="1438" y="1488"/>
                    <a:pt x="1437" y="1487"/>
                    <a:pt x="1437" y="1486"/>
                  </a:cubicBezTo>
                  <a:cubicBezTo>
                    <a:pt x="1436" y="1484"/>
                    <a:pt x="1436" y="1483"/>
                    <a:pt x="1436" y="1481"/>
                  </a:cubicBezTo>
                  <a:cubicBezTo>
                    <a:pt x="1436" y="1479"/>
                    <a:pt x="1436" y="1479"/>
                    <a:pt x="1436" y="1479"/>
                  </a:cubicBezTo>
                  <a:cubicBezTo>
                    <a:pt x="1437" y="1477"/>
                    <a:pt x="1437" y="1474"/>
                    <a:pt x="1437" y="1472"/>
                  </a:cubicBezTo>
                  <a:cubicBezTo>
                    <a:pt x="1437" y="1471"/>
                    <a:pt x="1437" y="1471"/>
                    <a:pt x="1437" y="1471"/>
                  </a:cubicBezTo>
                  <a:cubicBezTo>
                    <a:pt x="1438" y="1463"/>
                    <a:pt x="1438" y="1454"/>
                    <a:pt x="1440" y="1446"/>
                  </a:cubicBezTo>
                  <a:cubicBezTo>
                    <a:pt x="1440" y="1443"/>
                    <a:pt x="1440" y="1443"/>
                    <a:pt x="1440" y="1443"/>
                  </a:cubicBezTo>
                  <a:cubicBezTo>
                    <a:pt x="1441" y="1441"/>
                    <a:pt x="1442" y="1438"/>
                    <a:pt x="1444" y="1436"/>
                  </a:cubicBezTo>
                  <a:cubicBezTo>
                    <a:pt x="1446" y="1434"/>
                    <a:pt x="1448" y="1433"/>
                    <a:pt x="1450" y="1431"/>
                  </a:cubicBezTo>
                  <a:cubicBezTo>
                    <a:pt x="1450" y="1431"/>
                    <a:pt x="1450" y="1431"/>
                    <a:pt x="1450" y="1431"/>
                  </a:cubicBezTo>
                  <a:cubicBezTo>
                    <a:pt x="1451" y="1431"/>
                    <a:pt x="1451" y="1430"/>
                    <a:pt x="1452" y="1430"/>
                  </a:cubicBezTo>
                  <a:cubicBezTo>
                    <a:pt x="1452" y="1430"/>
                    <a:pt x="1453" y="1430"/>
                    <a:pt x="1453" y="1429"/>
                  </a:cubicBezTo>
                  <a:cubicBezTo>
                    <a:pt x="1453" y="1429"/>
                    <a:pt x="1454" y="1429"/>
                    <a:pt x="1454" y="1429"/>
                  </a:cubicBezTo>
                  <a:cubicBezTo>
                    <a:pt x="1455" y="1428"/>
                    <a:pt x="1457" y="1428"/>
                    <a:pt x="1458" y="1427"/>
                  </a:cubicBezTo>
                  <a:cubicBezTo>
                    <a:pt x="1459" y="1427"/>
                    <a:pt x="1459" y="1427"/>
                    <a:pt x="1460" y="1427"/>
                  </a:cubicBezTo>
                  <a:cubicBezTo>
                    <a:pt x="1461" y="1426"/>
                    <a:pt x="1463" y="1426"/>
                    <a:pt x="1464" y="1426"/>
                  </a:cubicBezTo>
                  <a:cubicBezTo>
                    <a:pt x="1465" y="1426"/>
                    <a:pt x="1465" y="1425"/>
                    <a:pt x="1466" y="1425"/>
                  </a:cubicBezTo>
                  <a:cubicBezTo>
                    <a:pt x="1466" y="1425"/>
                    <a:pt x="1466" y="1425"/>
                    <a:pt x="1466" y="1425"/>
                  </a:cubicBezTo>
                  <a:cubicBezTo>
                    <a:pt x="1467" y="1425"/>
                    <a:pt x="1468" y="1425"/>
                    <a:pt x="1468" y="1425"/>
                  </a:cubicBezTo>
                  <a:cubicBezTo>
                    <a:pt x="1472" y="1424"/>
                    <a:pt x="1476" y="1424"/>
                    <a:pt x="1480" y="1424"/>
                  </a:cubicBezTo>
                  <a:cubicBezTo>
                    <a:pt x="1483" y="1424"/>
                    <a:pt x="1483" y="1424"/>
                    <a:pt x="1483" y="1424"/>
                  </a:cubicBezTo>
                  <a:cubicBezTo>
                    <a:pt x="1487" y="1424"/>
                    <a:pt x="1492" y="1424"/>
                    <a:pt x="1496" y="1424"/>
                  </a:cubicBezTo>
                  <a:cubicBezTo>
                    <a:pt x="1550" y="1424"/>
                    <a:pt x="1550" y="1424"/>
                    <a:pt x="1550" y="1424"/>
                  </a:cubicBezTo>
                  <a:cubicBezTo>
                    <a:pt x="1551" y="1424"/>
                    <a:pt x="1552" y="1424"/>
                    <a:pt x="1554" y="1424"/>
                  </a:cubicBezTo>
                  <a:cubicBezTo>
                    <a:pt x="1554" y="1424"/>
                    <a:pt x="1555" y="1424"/>
                    <a:pt x="1555" y="1424"/>
                  </a:cubicBezTo>
                  <a:cubicBezTo>
                    <a:pt x="1556" y="1424"/>
                    <a:pt x="1558" y="1424"/>
                    <a:pt x="1559" y="1424"/>
                  </a:cubicBezTo>
                  <a:cubicBezTo>
                    <a:pt x="1570" y="1425"/>
                    <a:pt x="1582" y="1428"/>
                    <a:pt x="1586" y="1438"/>
                  </a:cubicBezTo>
                  <a:cubicBezTo>
                    <a:pt x="1587" y="1438"/>
                    <a:pt x="1587" y="1439"/>
                    <a:pt x="1587" y="1440"/>
                  </a:cubicBezTo>
                  <a:cubicBezTo>
                    <a:pt x="1588" y="1440"/>
                    <a:pt x="1588" y="1440"/>
                    <a:pt x="1588" y="1440"/>
                  </a:cubicBezTo>
                  <a:cubicBezTo>
                    <a:pt x="1591" y="1452"/>
                    <a:pt x="1588" y="1466"/>
                    <a:pt x="1589" y="1478"/>
                  </a:cubicBezTo>
                  <a:lnTo>
                    <a:pt x="1589" y="1480"/>
                  </a:lnTo>
                  <a:close/>
                  <a:moveTo>
                    <a:pt x="1511" y="1543"/>
                  </a:moveTo>
                  <a:cubicBezTo>
                    <a:pt x="1531" y="1543"/>
                    <a:pt x="1577" y="1537"/>
                    <a:pt x="1588" y="1559"/>
                  </a:cubicBezTo>
                  <a:cubicBezTo>
                    <a:pt x="1589" y="1561"/>
                    <a:pt x="1590" y="1563"/>
                    <a:pt x="1590" y="1566"/>
                  </a:cubicBezTo>
                  <a:cubicBezTo>
                    <a:pt x="1590" y="1589"/>
                    <a:pt x="1590" y="1589"/>
                    <a:pt x="1590" y="1589"/>
                  </a:cubicBezTo>
                  <a:cubicBezTo>
                    <a:pt x="1590" y="1595"/>
                    <a:pt x="1590" y="1602"/>
                    <a:pt x="1590" y="1609"/>
                  </a:cubicBezTo>
                  <a:cubicBezTo>
                    <a:pt x="1590" y="1609"/>
                    <a:pt x="1590" y="1609"/>
                    <a:pt x="1590" y="1609"/>
                  </a:cubicBezTo>
                  <a:cubicBezTo>
                    <a:pt x="1590" y="1612"/>
                    <a:pt x="1590" y="1612"/>
                    <a:pt x="1590" y="1612"/>
                  </a:cubicBezTo>
                  <a:cubicBezTo>
                    <a:pt x="1590" y="1615"/>
                    <a:pt x="1589" y="1619"/>
                    <a:pt x="1587" y="1622"/>
                  </a:cubicBezTo>
                  <a:cubicBezTo>
                    <a:pt x="1587" y="1622"/>
                    <a:pt x="1586" y="1623"/>
                    <a:pt x="1586" y="1623"/>
                  </a:cubicBezTo>
                  <a:cubicBezTo>
                    <a:pt x="1585" y="1624"/>
                    <a:pt x="1584" y="1625"/>
                    <a:pt x="1583" y="1626"/>
                  </a:cubicBezTo>
                  <a:cubicBezTo>
                    <a:pt x="1583" y="1626"/>
                    <a:pt x="1583" y="1626"/>
                    <a:pt x="1583" y="1626"/>
                  </a:cubicBezTo>
                  <a:cubicBezTo>
                    <a:pt x="1578" y="1631"/>
                    <a:pt x="1571" y="1634"/>
                    <a:pt x="1563" y="1636"/>
                  </a:cubicBezTo>
                  <a:cubicBezTo>
                    <a:pt x="1563" y="1636"/>
                    <a:pt x="1563" y="1636"/>
                    <a:pt x="1563" y="1636"/>
                  </a:cubicBezTo>
                  <a:cubicBezTo>
                    <a:pt x="1563" y="1636"/>
                    <a:pt x="1563" y="1636"/>
                    <a:pt x="1563" y="1636"/>
                  </a:cubicBezTo>
                  <a:cubicBezTo>
                    <a:pt x="1560" y="1637"/>
                    <a:pt x="1558" y="1637"/>
                    <a:pt x="1556" y="1637"/>
                  </a:cubicBezTo>
                  <a:cubicBezTo>
                    <a:pt x="1555" y="1637"/>
                    <a:pt x="1554" y="1637"/>
                    <a:pt x="1554" y="1638"/>
                  </a:cubicBezTo>
                  <a:cubicBezTo>
                    <a:pt x="1551" y="1638"/>
                    <a:pt x="1548" y="1638"/>
                    <a:pt x="1546" y="1638"/>
                  </a:cubicBezTo>
                  <a:cubicBezTo>
                    <a:pt x="1546" y="1638"/>
                    <a:pt x="1546" y="1638"/>
                    <a:pt x="1546" y="1638"/>
                  </a:cubicBezTo>
                  <a:cubicBezTo>
                    <a:pt x="1463" y="1638"/>
                    <a:pt x="1463" y="1638"/>
                    <a:pt x="1463" y="1638"/>
                  </a:cubicBezTo>
                  <a:cubicBezTo>
                    <a:pt x="1453" y="1638"/>
                    <a:pt x="1441" y="1636"/>
                    <a:pt x="1432" y="1631"/>
                  </a:cubicBezTo>
                  <a:cubicBezTo>
                    <a:pt x="1432" y="1631"/>
                    <a:pt x="1432" y="1631"/>
                    <a:pt x="1432" y="1631"/>
                  </a:cubicBezTo>
                  <a:cubicBezTo>
                    <a:pt x="1432" y="1631"/>
                    <a:pt x="1432" y="1630"/>
                    <a:pt x="1432" y="1630"/>
                  </a:cubicBezTo>
                  <a:cubicBezTo>
                    <a:pt x="1431" y="1629"/>
                    <a:pt x="1429" y="1628"/>
                    <a:pt x="1427" y="1627"/>
                  </a:cubicBezTo>
                  <a:cubicBezTo>
                    <a:pt x="1426" y="1626"/>
                    <a:pt x="1425" y="1624"/>
                    <a:pt x="1424" y="1623"/>
                  </a:cubicBezTo>
                  <a:cubicBezTo>
                    <a:pt x="1424" y="1623"/>
                    <a:pt x="1424" y="1623"/>
                    <a:pt x="1424" y="1622"/>
                  </a:cubicBezTo>
                  <a:cubicBezTo>
                    <a:pt x="1422" y="1619"/>
                    <a:pt x="1421" y="1616"/>
                    <a:pt x="1421" y="1612"/>
                  </a:cubicBezTo>
                  <a:cubicBezTo>
                    <a:pt x="1422" y="1606"/>
                    <a:pt x="1422" y="1606"/>
                    <a:pt x="1422" y="1606"/>
                  </a:cubicBezTo>
                  <a:cubicBezTo>
                    <a:pt x="1422" y="1606"/>
                    <a:pt x="1422" y="1606"/>
                    <a:pt x="1422" y="1606"/>
                  </a:cubicBezTo>
                  <a:cubicBezTo>
                    <a:pt x="1424" y="1593"/>
                    <a:pt x="1425" y="1580"/>
                    <a:pt x="1427" y="1567"/>
                  </a:cubicBezTo>
                  <a:cubicBezTo>
                    <a:pt x="1427" y="1566"/>
                    <a:pt x="1427" y="1566"/>
                    <a:pt x="1427" y="1566"/>
                  </a:cubicBezTo>
                  <a:cubicBezTo>
                    <a:pt x="1427" y="1566"/>
                    <a:pt x="1427" y="1566"/>
                    <a:pt x="1427" y="1565"/>
                  </a:cubicBezTo>
                  <a:cubicBezTo>
                    <a:pt x="1432" y="1536"/>
                    <a:pt x="1490" y="1543"/>
                    <a:pt x="1511" y="1543"/>
                  </a:cubicBezTo>
                  <a:close/>
                  <a:moveTo>
                    <a:pt x="1175" y="1631"/>
                  </a:moveTo>
                  <a:cubicBezTo>
                    <a:pt x="1173" y="1630"/>
                    <a:pt x="1172" y="1629"/>
                    <a:pt x="1170" y="1627"/>
                  </a:cubicBezTo>
                  <a:cubicBezTo>
                    <a:pt x="1169" y="1626"/>
                    <a:pt x="1169" y="1625"/>
                    <a:pt x="1168" y="1624"/>
                  </a:cubicBezTo>
                  <a:cubicBezTo>
                    <a:pt x="1168" y="1623"/>
                    <a:pt x="1168" y="1623"/>
                    <a:pt x="1168" y="1623"/>
                  </a:cubicBezTo>
                  <a:cubicBezTo>
                    <a:pt x="1166" y="1620"/>
                    <a:pt x="1166" y="1616"/>
                    <a:pt x="1167" y="1613"/>
                  </a:cubicBezTo>
                  <a:cubicBezTo>
                    <a:pt x="1169" y="1607"/>
                    <a:pt x="1169" y="1607"/>
                    <a:pt x="1169" y="1607"/>
                  </a:cubicBezTo>
                  <a:cubicBezTo>
                    <a:pt x="1169" y="1607"/>
                    <a:pt x="1169" y="1607"/>
                    <a:pt x="1169" y="1607"/>
                  </a:cubicBezTo>
                  <a:cubicBezTo>
                    <a:pt x="1169" y="1606"/>
                    <a:pt x="1169" y="1605"/>
                    <a:pt x="1170" y="1604"/>
                  </a:cubicBezTo>
                  <a:cubicBezTo>
                    <a:pt x="1181" y="1567"/>
                    <a:pt x="1181" y="1567"/>
                    <a:pt x="1181" y="1567"/>
                  </a:cubicBezTo>
                  <a:cubicBezTo>
                    <a:pt x="1181" y="1566"/>
                    <a:pt x="1181" y="1566"/>
                    <a:pt x="1182" y="1565"/>
                  </a:cubicBezTo>
                  <a:cubicBezTo>
                    <a:pt x="1193" y="1537"/>
                    <a:pt x="1244" y="1543"/>
                    <a:pt x="1268" y="1543"/>
                  </a:cubicBezTo>
                  <a:cubicBezTo>
                    <a:pt x="1278" y="1543"/>
                    <a:pt x="1297" y="1542"/>
                    <a:pt x="1314" y="1543"/>
                  </a:cubicBezTo>
                  <a:cubicBezTo>
                    <a:pt x="1317" y="1544"/>
                    <a:pt x="1320" y="1544"/>
                    <a:pt x="1323" y="1545"/>
                  </a:cubicBezTo>
                  <a:cubicBezTo>
                    <a:pt x="1323" y="1545"/>
                    <a:pt x="1323" y="1545"/>
                    <a:pt x="1324" y="1545"/>
                  </a:cubicBezTo>
                  <a:cubicBezTo>
                    <a:pt x="1332" y="1547"/>
                    <a:pt x="1339" y="1551"/>
                    <a:pt x="1342" y="1556"/>
                  </a:cubicBezTo>
                  <a:cubicBezTo>
                    <a:pt x="1342" y="1557"/>
                    <a:pt x="1342" y="1557"/>
                    <a:pt x="1343" y="1557"/>
                  </a:cubicBezTo>
                  <a:cubicBezTo>
                    <a:pt x="1343" y="1558"/>
                    <a:pt x="1343" y="1558"/>
                    <a:pt x="1343" y="1558"/>
                  </a:cubicBezTo>
                  <a:cubicBezTo>
                    <a:pt x="1343" y="1558"/>
                    <a:pt x="1343" y="1559"/>
                    <a:pt x="1343" y="1559"/>
                  </a:cubicBezTo>
                  <a:cubicBezTo>
                    <a:pt x="1344" y="1561"/>
                    <a:pt x="1345" y="1564"/>
                    <a:pt x="1344" y="1567"/>
                  </a:cubicBezTo>
                  <a:cubicBezTo>
                    <a:pt x="1344" y="1569"/>
                    <a:pt x="1344" y="1569"/>
                    <a:pt x="1344" y="1569"/>
                  </a:cubicBezTo>
                  <a:cubicBezTo>
                    <a:pt x="1344" y="1569"/>
                    <a:pt x="1344" y="1569"/>
                    <a:pt x="1344" y="1569"/>
                  </a:cubicBezTo>
                  <a:cubicBezTo>
                    <a:pt x="1343" y="1576"/>
                    <a:pt x="1341" y="1583"/>
                    <a:pt x="1340" y="1589"/>
                  </a:cubicBezTo>
                  <a:cubicBezTo>
                    <a:pt x="1336" y="1612"/>
                    <a:pt x="1336" y="1612"/>
                    <a:pt x="1336" y="1612"/>
                  </a:cubicBezTo>
                  <a:cubicBezTo>
                    <a:pt x="1336" y="1616"/>
                    <a:pt x="1334" y="1619"/>
                    <a:pt x="1331" y="1622"/>
                  </a:cubicBezTo>
                  <a:cubicBezTo>
                    <a:pt x="1331" y="1623"/>
                    <a:pt x="1330" y="1623"/>
                    <a:pt x="1330" y="1623"/>
                  </a:cubicBezTo>
                  <a:cubicBezTo>
                    <a:pt x="1330" y="1624"/>
                    <a:pt x="1329" y="1624"/>
                    <a:pt x="1329" y="1624"/>
                  </a:cubicBezTo>
                  <a:cubicBezTo>
                    <a:pt x="1328" y="1625"/>
                    <a:pt x="1327" y="1626"/>
                    <a:pt x="1326" y="1627"/>
                  </a:cubicBezTo>
                  <a:cubicBezTo>
                    <a:pt x="1320" y="1632"/>
                    <a:pt x="1312" y="1635"/>
                    <a:pt x="1305" y="1636"/>
                  </a:cubicBezTo>
                  <a:cubicBezTo>
                    <a:pt x="1305" y="1637"/>
                    <a:pt x="1305" y="1637"/>
                    <a:pt x="1305" y="1637"/>
                  </a:cubicBezTo>
                  <a:cubicBezTo>
                    <a:pt x="1304" y="1637"/>
                    <a:pt x="1304" y="1637"/>
                    <a:pt x="1304" y="1637"/>
                  </a:cubicBezTo>
                  <a:cubicBezTo>
                    <a:pt x="1302" y="1637"/>
                    <a:pt x="1300" y="1638"/>
                    <a:pt x="1297" y="1638"/>
                  </a:cubicBezTo>
                  <a:cubicBezTo>
                    <a:pt x="1297" y="1638"/>
                    <a:pt x="1296" y="1638"/>
                    <a:pt x="1295" y="1638"/>
                  </a:cubicBezTo>
                  <a:cubicBezTo>
                    <a:pt x="1292" y="1638"/>
                    <a:pt x="1290" y="1639"/>
                    <a:pt x="1287" y="1639"/>
                  </a:cubicBezTo>
                  <a:cubicBezTo>
                    <a:pt x="1287" y="1639"/>
                    <a:pt x="1287" y="1639"/>
                    <a:pt x="1287" y="1639"/>
                  </a:cubicBezTo>
                  <a:cubicBezTo>
                    <a:pt x="1204" y="1639"/>
                    <a:pt x="1204" y="1639"/>
                    <a:pt x="1204" y="1639"/>
                  </a:cubicBezTo>
                  <a:cubicBezTo>
                    <a:pt x="1194" y="1639"/>
                    <a:pt x="1183" y="1637"/>
                    <a:pt x="1175" y="1631"/>
                  </a:cubicBezTo>
                  <a:cubicBezTo>
                    <a:pt x="1175" y="1631"/>
                    <a:pt x="1175" y="1631"/>
                    <a:pt x="1175" y="1631"/>
                  </a:cubicBezTo>
                  <a:close/>
                  <a:moveTo>
                    <a:pt x="1278" y="1502"/>
                  </a:moveTo>
                  <a:cubicBezTo>
                    <a:pt x="1266" y="1502"/>
                    <a:pt x="1253" y="1502"/>
                    <a:pt x="1241" y="1502"/>
                  </a:cubicBezTo>
                  <a:cubicBezTo>
                    <a:pt x="1230" y="1502"/>
                    <a:pt x="1213" y="1500"/>
                    <a:pt x="1207" y="1489"/>
                  </a:cubicBezTo>
                  <a:cubicBezTo>
                    <a:pt x="1207" y="1488"/>
                    <a:pt x="1207" y="1487"/>
                    <a:pt x="1207" y="1486"/>
                  </a:cubicBezTo>
                  <a:cubicBezTo>
                    <a:pt x="1206" y="1486"/>
                    <a:pt x="1206" y="1485"/>
                    <a:pt x="1206" y="1484"/>
                  </a:cubicBezTo>
                  <a:cubicBezTo>
                    <a:pt x="1206" y="1483"/>
                    <a:pt x="1207" y="1482"/>
                    <a:pt x="1207" y="1481"/>
                  </a:cubicBezTo>
                  <a:cubicBezTo>
                    <a:pt x="1207" y="1481"/>
                    <a:pt x="1207" y="1481"/>
                    <a:pt x="1207" y="1481"/>
                  </a:cubicBezTo>
                  <a:cubicBezTo>
                    <a:pt x="1207" y="1481"/>
                    <a:pt x="1207" y="1481"/>
                    <a:pt x="1207" y="1481"/>
                  </a:cubicBezTo>
                  <a:cubicBezTo>
                    <a:pt x="1207" y="1478"/>
                    <a:pt x="1209" y="1474"/>
                    <a:pt x="1210" y="1472"/>
                  </a:cubicBezTo>
                  <a:cubicBezTo>
                    <a:pt x="1212" y="1463"/>
                    <a:pt x="1214" y="1453"/>
                    <a:pt x="1218" y="1445"/>
                  </a:cubicBezTo>
                  <a:cubicBezTo>
                    <a:pt x="1218" y="1444"/>
                    <a:pt x="1218" y="1444"/>
                    <a:pt x="1218" y="1444"/>
                  </a:cubicBezTo>
                  <a:cubicBezTo>
                    <a:pt x="1219" y="1441"/>
                    <a:pt x="1221" y="1438"/>
                    <a:pt x="1223" y="1436"/>
                  </a:cubicBezTo>
                  <a:cubicBezTo>
                    <a:pt x="1225" y="1435"/>
                    <a:pt x="1226" y="1434"/>
                    <a:pt x="1228" y="1433"/>
                  </a:cubicBezTo>
                  <a:cubicBezTo>
                    <a:pt x="1233" y="1429"/>
                    <a:pt x="1239" y="1427"/>
                    <a:pt x="1245" y="1426"/>
                  </a:cubicBezTo>
                  <a:cubicBezTo>
                    <a:pt x="1246" y="1426"/>
                    <a:pt x="1246" y="1426"/>
                    <a:pt x="1247" y="1426"/>
                  </a:cubicBezTo>
                  <a:cubicBezTo>
                    <a:pt x="1251" y="1425"/>
                    <a:pt x="1257" y="1424"/>
                    <a:pt x="1262" y="1424"/>
                  </a:cubicBezTo>
                  <a:cubicBezTo>
                    <a:pt x="1269" y="1424"/>
                    <a:pt x="1269" y="1424"/>
                    <a:pt x="1269" y="1424"/>
                  </a:cubicBezTo>
                  <a:cubicBezTo>
                    <a:pt x="1271" y="1424"/>
                    <a:pt x="1274" y="1424"/>
                    <a:pt x="1276" y="1424"/>
                  </a:cubicBezTo>
                  <a:cubicBezTo>
                    <a:pt x="1291" y="1424"/>
                    <a:pt x="1307" y="1424"/>
                    <a:pt x="1322" y="1424"/>
                  </a:cubicBezTo>
                  <a:cubicBezTo>
                    <a:pt x="1324" y="1424"/>
                    <a:pt x="1326" y="1424"/>
                    <a:pt x="1329" y="1424"/>
                  </a:cubicBezTo>
                  <a:cubicBezTo>
                    <a:pt x="1331" y="1424"/>
                    <a:pt x="1331" y="1424"/>
                    <a:pt x="1331" y="1424"/>
                  </a:cubicBezTo>
                  <a:cubicBezTo>
                    <a:pt x="1332" y="1424"/>
                    <a:pt x="1332" y="1424"/>
                    <a:pt x="1333" y="1424"/>
                  </a:cubicBezTo>
                  <a:cubicBezTo>
                    <a:pt x="1335" y="1424"/>
                    <a:pt x="1337" y="1424"/>
                    <a:pt x="1339" y="1425"/>
                  </a:cubicBezTo>
                  <a:cubicBezTo>
                    <a:pt x="1339" y="1425"/>
                    <a:pt x="1339" y="1425"/>
                    <a:pt x="1339" y="1425"/>
                  </a:cubicBezTo>
                  <a:cubicBezTo>
                    <a:pt x="1351" y="1426"/>
                    <a:pt x="1364" y="1429"/>
                    <a:pt x="1366" y="1439"/>
                  </a:cubicBezTo>
                  <a:cubicBezTo>
                    <a:pt x="1366" y="1439"/>
                    <a:pt x="1366" y="1440"/>
                    <a:pt x="1366" y="1440"/>
                  </a:cubicBezTo>
                  <a:cubicBezTo>
                    <a:pt x="1366" y="1440"/>
                    <a:pt x="1366" y="1440"/>
                    <a:pt x="1366" y="1441"/>
                  </a:cubicBezTo>
                  <a:cubicBezTo>
                    <a:pt x="1367" y="1452"/>
                    <a:pt x="1362" y="1467"/>
                    <a:pt x="1360" y="1478"/>
                  </a:cubicBezTo>
                  <a:cubicBezTo>
                    <a:pt x="1360" y="1478"/>
                    <a:pt x="1360" y="1478"/>
                    <a:pt x="1360" y="1478"/>
                  </a:cubicBezTo>
                  <a:cubicBezTo>
                    <a:pt x="1359" y="1481"/>
                    <a:pt x="1359" y="1481"/>
                    <a:pt x="1359" y="1481"/>
                  </a:cubicBezTo>
                  <a:cubicBezTo>
                    <a:pt x="1359" y="1483"/>
                    <a:pt x="1358" y="1485"/>
                    <a:pt x="1356" y="1487"/>
                  </a:cubicBezTo>
                  <a:cubicBezTo>
                    <a:pt x="1356" y="1488"/>
                    <a:pt x="1355" y="1488"/>
                    <a:pt x="1355" y="1489"/>
                  </a:cubicBezTo>
                  <a:cubicBezTo>
                    <a:pt x="1355" y="1489"/>
                    <a:pt x="1355" y="1489"/>
                    <a:pt x="1355" y="1489"/>
                  </a:cubicBezTo>
                  <a:cubicBezTo>
                    <a:pt x="1355" y="1489"/>
                    <a:pt x="1355" y="1489"/>
                    <a:pt x="1354" y="1489"/>
                  </a:cubicBezTo>
                  <a:cubicBezTo>
                    <a:pt x="1339" y="1507"/>
                    <a:pt x="1298" y="1502"/>
                    <a:pt x="1278" y="1502"/>
                  </a:cubicBezTo>
                  <a:close/>
                  <a:moveTo>
                    <a:pt x="911" y="1620"/>
                  </a:moveTo>
                  <a:cubicBezTo>
                    <a:pt x="911" y="1619"/>
                    <a:pt x="911" y="1618"/>
                    <a:pt x="911" y="1618"/>
                  </a:cubicBezTo>
                  <a:cubicBezTo>
                    <a:pt x="912" y="1616"/>
                    <a:pt x="912" y="1615"/>
                    <a:pt x="913" y="1614"/>
                  </a:cubicBezTo>
                  <a:cubicBezTo>
                    <a:pt x="913" y="1614"/>
                    <a:pt x="913" y="1614"/>
                    <a:pt x="913" y="1613"/>
                  </a:cubicBezTo>
                  <a:cubicBezTo>
                    <a:pt x="913" y="1612"/>
                    <a:pt x="913" y="1612"/>
                    <a:pt x="913" y="1612"/>
                  </a:cubicBezTo>
                  <a:cubicBezTo>
                    <a:pt x="914" y="1611"/>
                    <a:pt x="915" y="1609"/>
                    <a:pt x="916" y="1607"/>
                  </a:cubicBezTo>
                  <a:cubicBezTo>
                    <a:pt x="922" y="1594"/>
                    <a:pt x="928" y="1582"/>
                    <a:pt x="935" y="1569"/>
                  </a:cubicBezTo>
                  <a:cubicBezTo>
                    <a:pt x="935" y="1569"/>
                    <a:pt x="935" y="1569"/>
                    <a:pt x="935" y="1569"/>
                  </a:cubicBezTo>
                  <a:cubicBezTo>
                    <a:pt x="935" y="1568"/>
                    <a:pt x="935" y="1568"/>
                    <a:pt x="935" y="1568"/>
                  </a:cubicBezTo>
                  <a:cubicBezTo>
                    <a:pt x="936" y="1567"/>
                    <a:pt x="936" y="1566"/>
                    <a:pt x="937" y="1566"/>
                  </a:cubicBezTo>
                  <a:cubicBezTo>
                    <a:pt x="937" y="1565"/>
                    <a:pt x="938" y="1564"/>
                    <a:pt x="938" y="1563"/>
                  </a:cubicBezTo>
                  <a:cubicBezTo>
                    <a:pt x="938" y="1563"/>
                    <a:pt x="938" y="1563"/>
                    <a:pt x="939" y="1563"/>
                  </a:cubicBezTo>
                  <a:cubicBezTo>
                    <a:pt x="956" y="1539"/>
                    <a:pt x="997" y="1544"/>
                    <a:pt x="1023" y="1544"/>
                  </a:cubicBezTo>
                  <a:cubicBezTo>
                    <a:pt x="1023" y="1544"/>
                    <a:pt x="1023" y="1544"/>
                    <a:pt x="1023" y="1544"/>
                  </a:cubicBezTo>
                  <a:cubicBezTo>
                    <a:pt x="1030" y="1544"/>
                    <a:pt x="1049" y="1542"/>
                    <a:pt x="1066" y="1544"/>
                  </a:cubicBezTo>
                  <a:cubicBezTo>
                    <a:pt x="1071" y="1544"/>
                    <a:pt x="1077" y="1544"/>
                    <a:pt x="1081" y="1545"/>
                  </a:cubicBezTo>
                  <a:cubicBezTo>
                    <a:pt x="1084" y="1546"/>
                    <a:pt x="1087" y="1547"/>
                    <a:pt x="1089" y="1548"/>
                  </a:cubicBezTo>
                  <a:cubicBezTo>
                    <a:pt x="1095" y="1551"/>
                    <a:pt x="1099" y="1556"/>
                    <a:pt x="1099" y="1562"/>
                  </a:cubicBezTo>
                  <a:cubicBezTo>
                    <a:pt x="1099" y="1562"/>
                    <a:pt x="1099" y="1562"/>
                    <a:pt x="1099" y="1562"/>
                  </a:cubicBezTo>
                  <a:cubicBezTo>
                    <a:pt x="1099" y="1563"/>
                    <a:pt x="1099" y="1563"/>
                    <a:pt x="1099" y="1564"/>
                  </a:cubicBezTo>
                  <a:cubicBezTo>
                    <a:pt x="1099" y="1565"/>
                    <a:pt x="1099" y="1566"/>
                    <a:pt x="1099" y="1567"/>
                  </a:cubicBezTo>
                  <a:cubicBezTo>
                    <a:pt x="1082" y="1613"/>
                    <a:pt x="1082" y="1613"/>
                    <a:pt x="1082" y="1613"/>
                  </a:cubicBezTo>
                  <a:cubicBezTo>
                    <a:pt x="1081" y="1617"/>
                    <a:pt x="1078" y="1620"/>
                    <a:pt x="1075" y="1623"/>
                  </a:cubicBezTo>
                  <a:cubicBezTo>
                    <a:pt x="1071" y="1626"/>
                    <a:pt x="1067" y="1629"/>
                    <a:pt x="1062" y="1631"/>
                  </a:cubicBezTo>
                  <a:cubicBezTo>
                    <a:pt x="1062" y="1632"/>
                    <a:pt x="1061" y="1632"/>
                    <a:pt x="1061" y="1632"/>
                  </a:cubicBezTo>
                  <a:cubicBezTo>
                    <a:pt x="1054" y="1635"/>
                    <a:pt x="1047" y="1637"/>
                    <a:pt x="1039" y="1639"/>
                  </a:cubicBezTo>
                  <a:cubicBezTo>
                    <a:pt x="1038" y="1639"/>
                    <a:pt x="1038" y="1639"/>
                    <a:pt x="1038" y="1639"/>
                  </a:cubicBezTo>
                  <a:cubicBezTo>
                    <a:pt x="1036" y="1639"/>
                    <a:pt x="1035" y="1639"/>
                    <a:pt x="1034" y="1639"/>
                  </a:cubicBezTo>
                  <a:cubicBezTo>
                    <a:pt x="1020" y="1640"/>
                    <a:pt x="1005" y="1639"/>
                    <a:pt x="990" y="1639"/>
                  </a:cubicBezTo>
                  <a:cubicBezTo>
                    <a:pt x="975" y="1639"/>
                    <a:pt x="960" y="1640"/>
                    <a:pt x="945" y="1640"/>
                  </a:cubicBezTo>
                  <a:cubicBezTo>
                    <a:pt x="935" y="1640"/>
                    <a:pt x="920" y="1638"/>
                    <a:pt x="914" y="1628"/>
                  </a:cubicBezTo>
                  <a:cubicBezTo>
                    <a:pt x="913" y="1628"/>
                    <a:pt x="913" y="1628"/>
                    <a:pt x="913" y="1627"/>
                  </a:cubicBezTo>
                  <a:cubicBezTo>
                    <a:pt x="913" y="1627"/>
                    <a:pt x="912" y="1626"/>
                    <a:pt x="912" y="1626"/>
                  </a:cubicBezTo>
                  <a:cubicBezTo>
                    <a:pt x="912" y="1625"/>
                    <a:pt x="912" y="1624"/>
                    <a:pt x="911" y="1624"/>
                  </a:cubicBezTo>
                  <a:cubicBezTo>
                    <a:pt x="911" y="1624"/>
                    <a:pt x="911" y="1624"/>
                    <a:pt x="911" y="1624"/>
                  </a:cubicBezTo>
                  <a:cubicBezTo>
                    <a:pt x="911" y="1623"/>
                    <a:pt x="911" y="1623"/>
                    <a:pt x="911" y="1623"/>
                  </a:cubicBezTo>
                  <a:cubicBezTo>
                    <a:pt x="911" y="1622"/>
                    <a:pt x="911" y="1621"/>
                    <a:pt x="911" y="1620"/>
                  </a:cubicBezTo>
                  <a:close/>
                  <a:moveTo>
                    <a:pt x="910" y="1465"/>
                  </a:moveTo>
                  <a:cubicBezTo>
                    <a:pt x="910" y="1465"/>
                    <a:pt x="910" y="1465"/>
                    <a:pt x="910" y="1465"/>
                  </a:cubicBezTo>
                  <a:cubicBezTo>
                    <a:pt x="900" y="1482"/>
                    <a:pt x="900" y="1482"/>
                    <a:pt x="900" y="1482"/>
                  </a:cubicBezTo>
                  <a:cubicBezTo>
                    <a:pt x="899" y="1485"/>
                    <a:pt x="896" y="1488"/>
                    <a:pt x="893" y="1490"/>
                  </a:cubicBezTo>
                  <a:cubicBezTo>
                    <a:pt x="889" y="1493"/>
                    <a:pt x="885" y="1495"/>
                    <a:pt x="880" y="1497"/>
                  </a:cubicBezTo>
                  <a:cubicBezTo>
                    <a:pt x="879" y="1497"/>
                    <a:pt x="878" y="1498"/>
                    <a:pt x="876" y="1498"/>
                  </a:cubicBezTo>
                  <a:cubicBezTo>
                    <a:pt x="876" y="1499"/>
                    <a:pt x="875" y="1499"/>
                    <a:pt x="874" y="1499"/>
                  </a:cubicBezTo>
                  <a:cubicBezTo>
                    <a:pt x="874" y="1499"/>
                    <a:pt x="874" y="1499"/>
                    <a:pt x="874" y="1499"/>
                  </a:cubicBezTo>
                  <a:cubicBezTo>
                    <a:pt x="871" y="1500"/>
                    <a:pt x="868" y="1501"/>
                    <a:pt x="865" y="1502"/>
                  </a:cubicBezTo>
                  <a:cubicBezTo>
                    <a:pt x="859" y="1503"/>
                    <a:pt x="854" y="1503"/>
                    <a:pt x="848" y="1503"/>
                  </a:cubicBezTo>
                  <a:cubicBezTo>
                    <a:pt x="832" y="1503"/>
                    <a:pt x="832" y="1503"/>
                    <a:pt x="832" y="1503"/>
                  </a:cubicBezTo>
                  <a:cubicBezTo>
                    <a:pt x="832" y="1503"/>
                    <a:pt x="832" y="1503"/>
                    <a:pt x="832" y="1503"/>
                  </a:cubicBezTo>
                  <a:cubicBezTo>
                    <a:pt x="812" y="1503"/>
                    <a:pt x="793" y="1504"/>
                    <a:pt x="774" y="1504"/>
                  </a:cubicBezTo>
                  <a:cubicBezTo>
                    <a:pt x="765" y="1504"/>
                    <a:pt x="747" y="1502"/>
                    <a:pt x="745" y="1491"/>
                  </a:cubicBezTo>
                  <a:cubicBezTo>
                    <a:pt x="745" y="1489"/>
                    <a:pt x="745" y="1488"/>
                    <a:pt x="746" y="1486"/>
                  </a:cubicBezTo>
                  <a:cubicBezTo>
                    <a:pt x="747" y="1482"/>
                    <a:pt x="751" y="1478"/>
                    <a:pt x="753" y="1475"/>
                  </a:cubicBezTo>
                  <a:cubicBezTo>
                    <a:pt x="760" y="1464"/>
                    <a:pt x="766" y="1452"/>
                    <a:pt x="775" y="1443"/>
                  </a:cubicBezTo>
                  <a:cubicBezTo>
                    <a:pt x="775" y="1442"/>
                    <a:pt x="776" y="1442"/>
                    <a:pt x="776" y="1441"/>
                  </a:cubicBezTo>
                  <a:cubicBezTo>
                    <a:pt x="776" y="1441"/>
                    <a:pt x="777" y="1441"/>
                    <a:pt x="777" y="1441"/>
                  </a:cubicBezTo>
                  <a:cubicBezTo>
                    <a:pt x="799" y="1419"/>
                    <a:pt x="845" y="1425"/>
                    <a:pt x="873" y="1425"/>
                  </a:cubicBezTo>
                  <a:cubicBezTo>
                    <a:pt x="886" y="1425"/>
                    <a:pt x="901" y="1423"/>
                    <a:pt x="913" y="1428"/>
                  </a:cubicBezTo>
                  <a:cubicBezTo>
                    <a:pt x="913" y="1428"/>
                    <a:pt x="913" y="1428"/>
                    <a:pt x="913" y="1428"/>
                  </a:cubicBezTo>
                  <a:cubicBezTo>
                    <a:pt x="915" y="1429"/>
                    <a:pt x="916" y="1430"/>
                    <a:pt x="917" y="1430"/>
                  </a:cubicBezTo>
                  <a:cubicBezTo>
                    <a:pt x="917" y="1430"/>
                    <a:pt x="917" y="1431"/>
                    <a:pt x="918" y="1431"/>
                  </a:cubicBezTo>
                  <a:cubicBezTo>
                    <a:pt x="920" y="1432"/>
                    <a:pt x="922" y="1435"/>
                    <a:pt x="922" y="1437"/>
                  </a:cubicBezTo>
                  <a:cubicBezTo>
                    <a:pt x="923" y="1439"/>
                    <a:pt x="923" y="1442"/>
                    <a:pt x="921" y="1444"/>
                  </a:cubicBezTo>
                  <a:cubicBezTo>
                    <a:pt x="920" y="1446"/>
                    <a:pt x="920" y="1446"/>
                    <a:pt x="920" y="1446"/>
                  </a:cubicBezTo>
                  <a:cubicBezTo>
                    <a:pt x="918" y="1452"/>
                    <a:pt x="913" y="1460"/>
                    <a:pt x="910" y="1465"/>
                  </a:cubicBezTo>
                  <a:close/>
                  <a:moveTo>
                    <a:pt x="1095" y="1502"/>
                  </a:moveTo>
                  <a:cubicBezTo>
                    <a:pt x="1093" y="1502"/>
                    <a:pt x="1091" y="1502"/>
                    <a:pt x="1089" y="1502"/>
                  </a:cubicBezTo>
                  <a:cubicBezTo>
                    <a:pt x="1089" y="1502"/>
                    <a:pt x="1089" y="1503"/>
                    <a:pt x="1088" y="1503"/>
                  </a:cubicBezTo>
                  <a:cubicBezTo>
                    <a:pt x="1077" y="1504"/>
                    <a:pt x="1066" y="1503"/>
                    <a:pt x="1054" y="1503"/>
                  </a:cubicBezTo>
                  <a:cubicBezTo>
                    <a:pt x="1007" y="1503"/>
                    <a:pt x="1007" y="1503"/>
                    <a:pt x="1007" y="1503"/>
                  </a:cubicBezTo>
                  <a:cubicBezTo>
                    <a:pt x="997" y="1503"/>
                    <a:pt x="980" y="1501"/>
                    <a:pt x="976" y="1490"/>
                  </a:cubicBezTo>
                  <a:cubicBezTo>
                    <a:pt x="976" y="1489"/>
                    <a:pt x="976" y="1488"/>
                    <a:pt x="976" y="1487"/>
                  </a:cubicBezTo>
                  <a:cubicBezTo>
                    <a:pt x="976" y="1486"/>
                    <a:pt x="976" y="1486"/>
                    <a:pt x="976" y="1485"/>
                  </a:cubicBezTo>
                  <a:cubicBezTo>
                    <a:pt x="977" y="1481"/>
                    <a:pt x="980" y="1477"/>
                    <a:pt x="982" y="1473"/>
                  </a:cubicBezTo>
                  <a:cubicBezTo>
                    <a:pt x="986" y="1463"/>
                    <a:pt x="990" y="1449"/>
                    <a:pt x="998" y="1441"/>
                  </a:cubicBezTo>
                  <a:cubicBezTo>
                    <a:pt x="998" y="1440"/>
                    <a:pt x="999" y="1440"/>
                    <a:pt x="999" y="1440"/>
                  </a:cubicBezTo>
                  <a:cubicBezTo>
                    <a:pt x="1000" y="1439"/>
                    <a:pt x="1000" y="1439"/>
                    <a:pt x="1000" y="1438"/>
                  </a:cubicBezTo>
                  <a:cubicBezTo>
                    <a:pt x="1001" y="1438"/>
                    <a:pt x="1001" y="1438"/>
                    <a:pt x="1001" y="1438"/>
                  </a:cubicBezTo>
                  <a:cubicBezTo>
                    <a:pt x="1002" y="1437"/>
                    <a:pt x="1002" y="1437"/>
                    <a:pt x="1002" y="1437"/>
                  </a:cubicBezTo>
                  <a:cubicBezTo>
                    <a:pt x="1003" y="1436"/>
                    <a:pt x="1003" y="1436"/>
                    <a:pt x="1003" y="1436"/>
                  </a:cubicBezTo>
                  <a:cubicBezTo>
                    <a:pt x="1010" y="1431"/>
                    <a:pt x="1018" y="1428"/>
                    <a:pt x="1027" y="1427"/>
                  </a:cubicBezTo>
                  <a:cubicBezTo>
                    <a:pt x="1027" y="1427"/>
                    <a:pt x="1027" y="1426"/>
                    <a:pt x="1028" y="1426"/>
                  </a:cubicBezTo>
                  <a:cubicBezTo>
                    <a:pt x="1033" y="1425"/>
                    <a:pt x="1038" y="1425"/>
                    <a:pt x="1043" y="1425"/>
                  </a:cubicBezTo>
                  <a:cubicBezTo>
                    <a:pt x="1072" y="1425"/>
                    <a:pt x="1072" y="1425"/>
                    <a:pt x="1072" y="1425"/>
                  </a:cubicBezTo>
                  <a:cubicBezTo>
                    <a:pt x="1081" y="1425"/>
                    <a:pt x="1090" y="1425"/>
                    <a:pt x="1099" y="1425"/>
                  </a:cubicBezTo>
                  <a:cubicBezTo>
                    <a:pt x="1112" y="1425"/>
                    <a:pt x="1130" y="1423"/>
                    <a:pt x="1140" y="1432"/>
                  </a:cubicBezTo>
                  <a:cubicBezTo>
                    <a:pt x="1140" y="1433"/>
                    <a:pt x="1141" y="1433"/>
                    <a:pt x="1141" y="1434"/>
                  </a:cubicBezTo>
                  <a:cubicBezTo>
                    <a:pt x="1142" y="1434"/>
                    <a:pt x="1142" y="1434"/>
                    <a:pt x="1142" y="1434"/>
                  </a:cubicBezTo>
                  <a:cubicBezTo>
                    <a:pt x="1142" y="1434"/>
                    <a:pt x="1142" y="1435"/>
                    <a:pt x="1142" y="1435"/>
                  </a:cubicBezTo>
                  <a:cubicBezTo>
                    <a:pt x="1143" y="1435"/>
                    <a:pt x="1143" y="1436"/>
                    <a:pt x="1143" y="1436"/>
                  </a:cubicBezTo>
                  <a:cubicBezTo>
                    <a:pt x="1144" y="1438"/>
                    <a:pt x="1144" y="1440"/>
                    <a:pt x="1144" y="1442"/>
                  </a:cubicBezTo>
                  <a:cubicBezTo>
                    <a:pt x="1143" y="1452"/>
                    <a:pt x="1135" y="1467"/>
                    <a:pt x="1133" y="1473"/>
                  </a:cubicBezTo>
                  <a:cubicBezTo>
                    <a:pt x="1133" y="1474"/>
                    <a:pt x="1133" y="1474"/>
                    <a:pt x="1133" y="1474"/>
                  </a:cubicBezTo>
                  <a:cubicBezTo>
                    <a:pt x="1132" y="1476"/>
                    <a:pt x="1131" y="1478"/>
                    <a:pt x="1130" y="1480"/>
                  </a:cubicBezTo>
                  <a:cubicBezTo>
                    <a:pt x="1130" y="1481"/>
                    <a:pt x="1130" y="1481"/>
                    <a:pt x="1130" y="1481"/>
                  </a:cubicBezTo>
                  <a:cubicBezTo>
                    <a:pt x="1130" y="1482"/>
                    <a:pt x="1129" y="1483"/>
                    <a:pt x="1129" y="1483"/>
                  </a:cubicBezTo>
                  <a:cubicBezTo>
                    <a:pt x="1129" y="1484"/>
                    <a:pt x="1128" y="1484"/>
                    <a:pt x="1128" y="1485"/>
                  </a:cubicBezTo>
                  <a:cubicBezTo>
                    <a:pt x="1128" y="1485"/>
                    <a:pt x="1127" y="1486"/>
                    <a:pt x="1127" y="1487"/>
                  </a:cubicBezTo>
                  <a:cubicBezTo>
                    <a:pt x="1126" y="1487"/>
                    <a:pt x="1126" y="1487"/>
                    <a:pt x="1126" y="1488"/>
                  </a:cubicBezTo>
                  <a:cubicBezTo>
                    <a:pt x="1125" y="1488"/>
                    <a:pt x="1125" y="1488"/>
                    <a:pt x="1125" y="1488"/>
                  </a:cubicBezTo>
                  <a:cubicBezTo>
                    <a:pt x="1124" y="1489"/>
                    <a:pt x="1124" y="1489"/>
                    <a:pt x="1124" y="1490"/>
                  </a:cubicBezTo>
                  <a:cubicBezTo>
                    <a:pt x="1122" y="1491"/>
                    <a:pt x="1121" y="1492"/>
                    <a:pt x="1119" y="1493"/>
                  </a:cubicBezTo>
                  <a:cubicBezTo>
                    <a:pt x="1117" y="1494"/>
                    <a:pt x="1115" y="1495"/>
                    <a:pt x="1114" y="1496"/>
                  </a:cubicBezTo>
                  <a:cubicBezTo>
                    <a:pt x="1113" y="1496"/>
                    <a:pt x="1113" y="1496"/>
                    <a:pt x="1113" y="1496"/>
                  </a:cubicBezTo>
                  <a:cubicBezTo>
                    <a:pt x="1112" y="1497"/>
                    <a:pt x="1112" y="1497"/>
                    <a:pt x="1112" y="1497"/>
                  </a:cubicBezTo>
                  <a:cubicBezTo>
                    <a:pt x="1106" y="1499"/>
                    <a:pt x="1100" y="1501"/>
                    <a:pt x="1095" y="1502"/>
                  </a:cubicBezTo>
                  <a:close/>
                  <a:moveTo>
                    <a:pt x="773" y="1710"/>
                  </a:moveTo>
                  <a:cubicBezTo>
                    <a:pt x="773" y="1710"/>
                    <a:pt x="773" y="1710"/>
                    <a:pt x="773" y="1710"/>
                  </a:cubicBezTo>
                  <a:cubicBezTo>
                    <a:pt x="771" y="1721"/>
                    <a:pt x="762" y="1732"/>
                    <a:pt x="756" y="1742"/>
                  </a:cubicBezTo>
                  <a:cubicBezTo>
                    <a:pt x="756" y="1742"/>
                    <a:pt x="756" y="1742"/>
                    <a:pt x="756" y="1742"/>
                  </a:cubicBezTo>
                  <a:cubicBezTo>
                    <a:pt x="750" y="1753"/>
                    <a:pt x="744" y="1767"/>
                    <a:pt x="736" y="1777"/>
                  </a:cubicBezTo>
                  <a:cubicBezTo>
                    <a:pt x="735" y="1778"/>
                    <a:pt x="735" y="1779"/>
                    <a:pt x="734" y="1781"/>
                  </a:cubicBezTo>
                  <a:cubicBezTo>
                    <a:pt x="734" y="1781"/>
                    <a:pt x="733" y="1781"/>
                    <a:pt x="733" y="1781"/>
                  </a:cubicBezTo>
                  <a:cubicBezTo>
                    <a:pt x="732" y="1782"/>
                    <a:pt x="731" y="1783"/>
                    <a:pt x="730" y="1784"/>
                  </a:cubicBezTo>
                  <a:cubicBezTo>
                    <a:pt x="729" y="1785"/>
                    <a:pt x="729" y="1785"/>
                    <a:pt x="728" y="1786"/>
                  </a:cubicBezTo>
                  <a:cubicBezTo>
                    <a:pt x="728" y="1786"/>
                    <a:pt x="728" y="1786"/>
                    <a:pt x="728" y="1786"/>
                  </a:cubicBezTo>
                  <a:cubicBezTo>
                    <a:pt x="719" y="1794"/>
                    <a:pt x="708" y="1799"/>
                    <a:pt x="696" y="1802"/>
                  </a:cubicBezTo>
                  <a:cubicBezTo>
                    <a:pt x="695" y="1803"/>
                    <a:pt x="693" y="1803"/>
                    <a:pt x="692" y="1804"/>
                  </a:cubicBezTo>
                  <a:cubicBezTo>
                    <a:pt x="685" y="1805"/>
                    <a:pt x="678" y="1806"/>
                    <a:pt x="671" y="1806"/>
                  </a:cubicBezTo>
                  <a:cubicBezTo>
                    <a:pt x="665" y="1806"/>
                    <a:pt x="665" y="1806"/>
                    <a:pt x="665" y="1806"/>
                  </a:cubicBezTo>
                  <a:cubicBezTo>
                    <a:pt x="665" y="1806"/>
                    <a:pt x="665" y="1806"/>
                    <a:pt x="665" y="1806"/>
                  </a:cubicBezTo>
                  <a:cubicBezTo>
                    <a:pt x="636" y="1806"/>
                    <a:pt x="607" y="1807"/>
                    <a:pt x="578" y="1807"/>
                  </a:cubicBezTo>
                  <a:cubicBezTo>
                    <a:pt x="575" y="1807"/>
                    <a:pt x="573" y="1806"/>
                    <a:pt x="571" y="1806"/>
                  </a:cubicBezTo>
                  <a:cubicBezTo>
                    <a:pt x="567" y="1806"/>
                    <a:pt x="563" y="1805"/>
                    <a:pt x="560" y="1804"/>
                  </a:cubicBezTo>
                  <a:cubicBezTo>
                    <a:pt x="555" y="1802"/>
                    <a:pt x="551" y="1800"/>
                    <a:pt x="549" y="1797"/>
                  </a:cubicBezTo>
                  <a:cubicBezTo>
                    <a:pt x="546" y="1794"/>
                    <a:pt x="545" y="1790"/>
                    <a:pt x="545" y="1786"/>
                  </a:cubicBezTo>
                  <a:cubicBezTo>
                    <a:pt x="545" y="1783"/>
                    <a:pt x="546" y="1780"/>
                    <a:pt x="548" y="1777"/>
                  </a:cubicBezTo>
                  <a:cubicBezTo>
                    <a:pt x="548" y="1776"/>
                    <a:pt x="549" y="1776"/>
                    <a:pt x="549" y="1776"/>
                  </a:cubicBezTo>
                  <a:cubicBezTo>
                    <a:pt x="549" y="1775"/>
                    <a:pt x="549" y="1774"/>
                    <a:pt x="550" y="1774"/>
                  </a:cubicBezTo>
                  <a:cubicBezTo>
                    <a:pt x="551" y="1772"/>
                    <a:pt x="551" y="1772"/>
                    <a:pt x="551" y="1772"/>
                  </a:cubicBezTo>
                  <a:cubicBezTo>
                    <a:pt x="551" y="1772"/>
                    <a:pt x="551" y="1772"/>
                    <a:pt x="551" y="1772"/>
                  </a:cubicBezTo>
                  <a:cubicBezTo>
                    <a:pt x="558" y="1761"/>
                    <a:pt x="566" y="1750"/>
                    <a:pt x="574" y="1739"/>
                  </a:cubicBezTo>
                  <a:cubicBezTo>
                    <a:pt x="579" y="1730"/>
                    <a:pt x="585" y="1720"/>
                    <a:pt x="592" y="1713"/>
                  </a:cubicBezTo>
                  <a:cubicBezTo>
                    <a:pt x="593" y="1712"/>
                    <a:pt x="593" y="1711"/>
                    <a:pt x="594" y="1710"/>
                  </a:cubicBezTo>
                  <a:cubicBezTo>
                    <a:pt x="594" y="1710"/>
                    <a:pt x="595" y="1710"/>
                    <a:pt x="595" y="1710"/>
                  </a:cubicBezTo>
                  <a:cubicBezTo>
                    <a:pt x="596" y="1708"/>
                    <a:pt x="598" y="1707"/>
                    <a:pt x="600" y="1705"/>
                  </a:cubicBezTo>
                  <a:cubicBezTo>
                    <a:pt x="600" y="1705"/>
                    <a:pt x="600" y="1705"/>
                    <a:pt x="600" y="1705"/>
                  </a:cubicBezTo>
                  <a:cubicBezTo>
                    <a:pt x="600" y="1705"/>
                    <a:pt x="600" y="1705"/>
                    <a:pt x="600" y="1705"/>
                  </a:cubicBezTo>
                  <a:cubicBezTo>
                    <a:pt x="610" y="1697"/>
                    <a:pt x="622" y="1692"/>
                    <a:pt x="635" y="1690"/>
                  </a:cubicBezTo>
                  <a:cubicBezTo>
                    <a:pt x="635" y="1690"/>
                    <a:pt x="635" y="1690"/>
                    <a:pt x="635" y="1690"/>
                  </a:cubicBezTo>
                  <a:cubicBezTo>
                    <a:pt x="636" y="1690"/>
                    <a:pt x="636" y="1690"/>
                    <a:pt x="636" y="1690"/>
                  </a:cubicBezTo>
                  <a:cubicBezTo>
                    <a:pt x="638" y="1689"/>
                    <a:pt x="640" y="1689"/>
                    <a:pt x="643" y="1688"/>
                  </a:cubicBezTo>
                  <a:cubicBezTo>
                    <a:pt x="644" y="1688"/>
                    <a:pt x="646" y="1688"/>
                    <a:pt x="647" y="1688"/>
                  </a:cubicBezTo>
                  <a:cubicBezTo>
                    <a:pt x="649" y="1688"/>
                    <a:pt x="650" y="1688"/>
                    <a:pt x="652" y="1688"/>
                  </a:cubicBezTo>
                  <a:cubicBezTo>
                    <a:pt x="653" y="1687"/>
                    <a:pt x="654" y="1687"/>
                    <a:pt x="655" y="1687"/>
                  </a:cubicBezTo>
                  <a:cubicBezTo>
                    <a:pt x="656" y="1687"/>
                    <a:pt x="656" y="1687"/>
                    <a:pt x="656" y="1687"/>
                  </a:cubicBezTo>
                  <a:cubicBezTo>
                    <a:pt x="656" y="1687"/>
                    <a:pt x="656" y="1687"/>
                    <a:pt x="656" y="1687"/>
                  </a:cubicBezTo>
                  <a:cubicBezTo>
                    <a:pt x="683" y="1687"/>
                    <a:pt x="709" y="1687"/>
                    <a:pt x="736" y="1687"/>
                  </a:cubicBezTo>
                  <a:cubicBezTo>
                    <a:pt x="736" y="1687"/>
                    <a:pt x="736" y="1687"/>
                    <a:pt x="736" y="1687"/>
                  </a:cubicBezTo>
                  <a:cubicBezTo>
                    <a:pt x="740" y="1687"/>
                    <a:pt x="740" y="1687"/>
                    <a:pt x="740" y="1687"/>
                  </a:cubicBezTo>
                  <a:cubicBezTo>
                    <a:pt x="747" y="1687"/>
                    <a:pt x="753" y="1688"/>
                    <a:pt x="757" y="1689"/>
                  </a:cubicBezTo>
                  <a:cubicBezTo>
                    <a:pt x="759" y="1690"/>
                    <a:pt x="760" y="1690"/>
                    <a:pt x="761" y="1691"/>
                  </a:cubicBezTo>
                  <a:cubicBezTo>
                    <a:pt x="761" y="1691"/>
                    <a:pt x="762" y="1691"/>
                    <a:pt x="763" y="1691"/>
                  </a:cubicBezTo>
                  <a:cubicBezTo>
                    <a:pt x="763" y="1692"/>
                    <a:pt x="763" y="1692"/>
                    <a:pt x="764" y="1692"/>
                  </a:cubicBezTo>
                  <a:cubicBezTo>
                    <a:pt x="771" y="1695"/>
                    <a:pt x="775" y="1701"/>
                    <a:pt x="773" y="1710"/>
                  </a:cubicBezTo>
                  <a:close/>
                  <a:moveTo>
                    <a:pt x="828" y="1613"/>
                  </a:moveTo>
                  <a:cubicBezTo>
                    <a:pt x="827" y="1614"/>
                    <a:pt x="827" y="1614"/>
                    <a:pt x="827" y="1614"/>
                  </a:cubicBezTo>
                  <a:cubicBezTo>
                    <a:pt x="827" y="1614"/>
                    <a:pt x="827" y="1614"/>
                    <a:pt x="827" y="1614"/>
                  </a:cubicBezTo>
                  <a:cubicBezTo>
                    <a:pt x="826" y="1616"/>
                    <a:pt x="825" y="1617"/>
                    <a:pt x="824" y="1619"/>
                  </a:cubicBezTo>
                  <a:cubicBezTo>
                    <a:pt x="824" y="1619"/>
                    <a:pt x="824" y="1619"/>
                    <a:pt x="823" y="1619"/>
                  </a:cubicBezTo>
                  <a:cubicBezTo>
                    <a:pt x="817" y="1627"/>
                    <a:pt x="807" y="1632"/>
                    <a:pt x="797" y="1635"/>
                  </a:cubicBezTo>
                  <a:cubicBezTo>
                    <a:pt x="797" y="1635"/>
                    <a:pt x="797" y="1635"/>
                    <a:pt x="797" y="1635"/>
                  </a:cubicBezTo>
                  <a:cubicBezTo>
                    <a:pt x="795" y="1636"/>
                    <a:pt x="794" y="1636"/>
                    <a:pt x="792" y="1636"/>
                  </a:cubicBezTo>
                  <a:cubicBezTo>
                    <a:pt x="791" y="1637"/>
                    <a:pt x="790" y="1637"/>
                    <a:pt x="789" y="1637"/>
                  </a:cubicBezTo>
                  <a:cubicBezTo>
                    <a:pt x="788" y="1637"/>
                    <a:pt x="788" y="1638"/>
                    <a:pt x="787" y="1638"/>
                  </a:cubicBezTo>
                  <a:cubicBezTo>
                    <a:pt x="781" y="1639"/>
                    <a:pt x="774" y="1640"/>
                    <a:pt x="768" y="1640"/>
                  </a:cubicBezTo>
                  <a:cubicBezTo>
                    <a:pt x="767" y="1640"/>
                    <a:pt x="767" y="1640"/>
                    <a:pt x="767" y="1640"/>
                  </a:cubicBezTo>
                  <a:cubicBezTo>
                    <a:pt x="756" y="1641"/>
                    <a:pt x="745" y="1640"/>
                    <a:pt x="735" y="1640"/>
                  </a:cubicBezTo>
                  <a:cubicBezTo>
                    <a:pt x="718" y="1640"/>
                    <a:pt x="702" y="1640"/>
                    <a:pt x="685" y="1640"/>
                  </a:cubicBezTo>
                  <a:cubicBezTo>
                    <a:pt x="683" y="1640"/>
                    <a:pt x="680" y="1640"/>
                    <a:pt x="677" y="1640"/>
                  </a:cubicBezTo>
                  <a:cubicBezTo>
                    <a:pt x="677" y="1640"/>
                    <a:pt x="677" y="1640"/>
                    <a:pt x="676" y="1640"/>
                  </a:cubicBezTo>
                  <a:cubicBezTo>
                    <a:pt x="674" y="1639"/>
                    <a:pt x="672" y="1639"/>
                    <a:pt x="669" y="1638"/>
                  </a:cubicBezTo>
                  <a:cubicBezTo>
                    <a:pt x="669" y="1638"/>
                    <a:pt x="669" y="1638"/>
                    <a:pt x="669" y="1638"/>
                  </a:cubicBezTo>
                  <a:cubicBezTo>
                    <a:pt x="669" y="1638"/>
                    <a:pt x="669" y="1638"/>
                    <a:pt x="669" y="1638"/>
                  </a:cubicBezTo>
                  <a:cubicBezTo>
                    <a:pt x="662" y="1636"/>
                    <a:pt x="655" y="1632"/>
                    <a:pt x="655" y="1624"/>
                  </a:cubicBezTo>
                  <a:cubicBezTo>
                    <a:pt x="655" y="1623"/>
                    <a:pt x="655" y="1621"/>
                    <a:pt x="656" y="1620"/>
                  </a:cubicBezTo>
                  <a:cubicBezTo>
                    <a:pt x="656" y="1619"/>
                    <a:pt x="656" y="1619"/>
                    <a:pt x="656" y="1618"/>
                  </a:cubicBezTo>
                  <a:cubicBezTo>
                    <a:pt x="657" y="1617"/>
                    <a:pt x="657" y="1616"/>
                    <a:pt x="658" y="1614"/>
                  </a:cubicBezTo>
                  <a:cubicBezTo>
                    <a:pt x="658" y="1614"/>
                    <a:pt x="658" y="1614"/>
                    <a:pt x="658" y="1614"/>
                  </a:cubicBezTo>
                  <a:cubicBezTo>
                    <a:pt x="659" y="1613"/>
                    <a:pt x="659" y="1613"/>
                    <a:pt x="659" y="1613"/>
                  </a:cubicBezTo>
                  <a:cubicBezTo>
                    <a:pt x="660" y="1612"/>
                    <a:pt x="661" y="1610"/>
                    <a:pt x="662" y="1609"/>
                  </a:cubicBezTo>
                  <a:cubicBezTo>
                    <a:pt x="670" y="1597"/>
                    <a:pt x="678" y="1585"/>
                    <a:pt x="686" y="1572"/>
                  </a:cubicBezTo>
                  <a:cubicBezTo>
                    <a:pt x="687" y="1572"/>
                    <a:pt x="687" y="1572"/>
                    <a:pt x="687" y="1572"/>
                  </a:cubicBezTo>
                  <a:cubicBezTo>
                    <a:pt x="689" y="1568"/>
                    <a:pt x="689" y="1568"/>
                    <a:pt x="689" y="1568"/>
                  </a:cubicBezTo>
                  <a:cubicBezTo>
                    <a:pt x="692" y="1565"/>
                    <a:pt x="695" y="1562"/>
                    <a:pt x="699" y="1559"/>
                  </a:cubicBezTo>
                  <a:cubicBezTo>
                    <a:pt x="702" y="1557"/>
                    <a:pt x="705" y="1555"/>
                    <a:pt x="708" y="1554"/>
                  </a:cubicBezTo>
                  <a:cubicBezTo>
                    <a:pt x="709" y="1553"/>
                    <a:pt x="710" y="1553"/>
                    <a:pt x="711" y="1552"/>
                  </a:cubicBezTo>
                  <a:cubicBezTo>
                    <a:pt x="712" y="1552"/>
                    <a:pt x="712" y="1552"/>
                    <a:pt x="713" y="1551"/>
                  </a:cubicBezTo>
                  <a:cubicBezTo>
                    <a:pt x="713" y="1551"/>
                    <a:pt x="714" y="1551"/>
                    <a:pt x="714" y="1551"/>
                  </a:cubicBezTo>
                  <a:cubicBezTo>
                    <a:pt x="715" y="1551"/>
                    <a:pt x="715" y="1551"/>
                    <a:pt x="716" y="1550"/>
                  </a:cubicBezTo>
                  <a:cubicBezTo>
                    <a:pt x="720" y="1549"/>
                    <a:pt x="725" y="1547"/>
                    <a:pt x="730" y="1546"/>
                  </a:cubicBezTo>
                  <a:cubicBezTo>
                    <a:pt x="735" y="1545"/>
                    <a:pt x="741" y="1544"/>
                    <a:pt x="747" y="1544"/>
                  </a:cubicBezTo>
                  <a:cubicBezTo>
                    <a:pt x="763" y="1544"/>
                    <a:pt x="763" y="1544"/>
                    <a:pt x="763" y="1544"/>
                  </a:cubicBezTo>
                  <a:cubicBezTo>
                    <a:pt x="767" y="1544"/>
                    <a:pt x="770" y="1544"/>
                    <a:pt x="774" y="1544"/>
                  </a:cubicBezTo>
                  <a:cubicBezTo>
                    <a:pt x="789" y="1544"/>
                    <a:pt x="803" y="1544"/>
                    <a:pt x="818" y="1544"/>
                  </a:cubicBezTo>
                  <a:cubicBezTo>
                    <a:pt x="818" y="1544"/>
                    <a:pt x="818" y="1544"/>
                    <a:pt x="818" y="1544"/>
                  </a:cubicBezTo>
                  <a:cubicBezTo>
                    <a:pt x="824" y="1544"/>
                    <a:pt x="824" y="1544"/>
                    <a:pt x="824" y="1544"/>
                  </a:cubicBezTo>
                  <a:cubicBezTo>
                    <a:pt x="830" y="1544"/>
                    <a:pt x="835" y="1545"/>
                    <a:pt x="839" y="1546"/>
                  </a:cubicBezTo>
                  <a:cubicBezTo>
                    <a:pt x="843" y="1547"/>
                    <a:pt x="845" y="1548"/>
                    <a:pt x="847" y="1549"/>
                  </a:cubicBezTo>
                  <a:cubicBezTo>
                    <a:pt x="854" y="1553"/>
                    <a:pt x="858" y="1559"/>
                    <a:pt x="853" y="1568"/>
                  </a:cubicBezTo>
                  <a:cubicBezTo>
                    <a:pt x="848" y="1579"/>
                    <a:pt x="841" y="1590"/>
                    <a:pt x="835" y="1600"/>
                  </a:cubicBezTo>
                  <a:cubicBezTo>
                    <a:pt x="828" y="1613"/>
                    <a:pt x="828" y="1613"/>
                    <a:pt x="828" y="1613"/>
                  </a:cubicBezTo>
                  <a:cubicBezTo>
                    <a:pt x="828" y="1613"/>
                    <a:pt x="828" y="1613"/>
                    <a:pt x="828" y="1613"/>
                  </a:cubicBezTo>
                  <a:close/>
                  <a:moveTo>
                    <a:pt x="1592" y="1771"/>
                  </a:moveTo>
                  <a:cubicBezTo>
                    <a:pt x="1592" y="1773"/>
                    <a:pt x="1592" y="1775"/>
                    <a:pt x="1591" y="1777"/>
                  </a:cubicBezTo>
                  <a:cubicBezTo>
                    <a:pt x="1591" y="1778"/>
                    <a:pt x="1591" y="1778"/>
                    <a:pt x="1591" y="1778"/>
                  </a:cubicBezTo>
                  <a:cubicBezTo>
                    <a:pt x="1590" y="1780"/>
                    <a:pt x="1590" y="1782"/>
                    <a:pt x="1589" y="1783"/>
                  </a:cubicBezTo>
                  <a:cubicBezTo>
                    <a:pt x="1589" y="1783"/>
                    <a:pt x="1589" y="1783"/>
                    <a:pt x="1589" y="1784"/>
                  </a:cubicBezTo>
                  <a:cubicBezTo>
                    <a:pt x="1588" y="1784"/>
                    <a:pt x="1588" y="1784"/>
                    <a:pt x="1588" y="1784"/>
                  </a:cubicBezTo>
                  <a:cubicBezTo>
                    <a:pt x="1587" y="1786"/>
                    <a:pt x="1586" y="1788"/>
                    <a:pt x="1584" y="1789"/>
                  </a:cubicBezTo>
                  <a:cubicBezTo>
                    <a:pt x="1584" y="1789"/>
                    <a:pt x="1584" y="1789"/>
                    <a:pt x="1584" y="1789"/>
                  </a:cubicBezTo>
                  <a:cubicBezTo>
                    <a:pt x="1582" y="1791"/>
                    <a:pt x="1581" y="1792"/>
                    <a:pt x="1579" y="1794"/>
                  </a:cubicBezTo>
                  <a:cubicBezTo>
                    <a:pt x="1578" y="1794"/>
                    <a:pt x="1578" y="1794"/>
                    <a:pt x="1578" y="1794"/>
                  </a:cubicBezTo>
                  <a:cubicBezTo>
                    <a:pt x="1578" y="1794"/>
                    <a:pt x="1577" y="1795"/>
                    <a:pt x="1577" y="1795"/>
                  </a:cubicBezTo>
                  <a:cubicBezTo>
                    <a:pt x="1575" y="1796"/>
                    <a:pt x="1573" y="1797"/>
                    <a:pt x="1571" y="1798"/>
                  </a:cubicBezTo>
                  <a:cubicBezTo>
                    <a:pt x="1571" y="1798"/>
                    <a:pt x="1571" y="1798"/>
                    <a:pt x="1570" y="1798"/>
                  </a:cubicBezTo>
                  <a:cubicBezTo>
                    <a:pt x="1569" y="1799"/>
                    <a:pt x="1567" y="1800"/>
                    <a:pt x="1566" y="1800"/>
                  </a:cubicBezTo>
                  <a:cubicBezTo>
                    <a:pt x="1565" y="1800"/>
                    <a:pt x="1564" y="1801"/>
                    <a:pt x="1563" y="1801"/>
                  </a:cubicBezTo>
                  <a:cubicBezTo>
                    <a:pt x="1563" y="1801"/>
                    <a:pt x="1563" y="1801"/>
                    <a:pt x="1562" y="1801"/>
                  </a:cubicBezTo>
                  <a:cubicBezTo>
                    <a:pt x="1562" y="1801"/>
                    <a:pt x="1561" y="1801"/>
                    <a:pt x="1561" y="1802"/>
                  </a:cubicBezTo>
                  <a:cubicBezTo>
                    <a:pt x="1559" y="1802"/>
                    <a:pt x="1557" y="1802"/>
                    <a:pt x="1555" y="1803"/>
                  </a:cubicBezTo>
                  <a:cubicBezTo>
                    <a:pt x="1553" y="1803"/>
                    <a:pt x="1551" y="1803"/>
                    <a:pt x="1550" y="1803"/>
                  </a:cubicBezTo>
                  <a:cubicBezTo>
                    <a:pt x="1548" y="1804"/>
                    <a:pt x="1546" y="1804"/>
                    <a:pt x="1544" y="1804"/>
                  </a:cubicBezTo>
                  <a:cubicBezTo>
                    <a:pt x="1544" y="1804"/>
                    <a:pt x="1543" y="1804"/>
                    <a:pt x="1542" y="1804"/>
                  </a:cubicBezTo>
                  <a:cubicBezTo>
                    <a:pt x="1540" y="1804"/>
                    <a:pt x="1540" y="1804"/>
                    <a:pt x="1540" y="1804"/>
                  </a:cubicBezTo>
                  <a:cubicBezTo>
                    <a:pt x="1540" y="1804"/>
                    <a:pt x="1540" y="1804"/>
                    <a:pt x="1540" y="1804"/>
                  </a:cubicBezTo>
                  <a:cubicBezTo>
                    <a:pt x="1530" y="1804"/>
                    <a:pt x="1519" y="1804"/>
                    <a:pt x="1509" y="1804"/>
                  </a:cubicBezTo>
                  <a:cubicBezTo>
                    <a:pt x="1461" y="1804"/>
                    <a:pt x="908" y="1806"/>
                    <a:pt x="869" y="1806"/>
                  </a:cubicBezTo>
                  <a:cubicBezTo>
                    <a:pt x="866" y="1806"/>
                    <a:pt x="863" y="1806"/>
                    <a:pt x="861" y="1805"/>
                  </a:cubicBezTo>
                  <a:cubicBezTo>
                    <a:pt x="857" y="1805"/>
                    <a:pt x="853" y="1804"/>
                    <a:pt x="850" y="1803"/>
                  </a:cubicBezTo>
                  <a:cubicBezTo>
                    <a:pt x="845" y="1802"/>
                    <a:pt x="841" y="1799"/>
                    <a:pt x="838" y="1796"/>
                  </a:cubicBezTo>
                  <a:cubicBezTo>
                    <a:pt x="835" y="1793"/>
                    <a:pt x="833" y="1790"/>
                    <a:pt x="832" y="1786"/>
                  </a:cubicBezTo>
                  <a:cubicBezTo>
                    <a:pt x="832" y="1782"/>
                    <a:pt x="832" y="1778"/>
                    <a:pt x="834" y="1773"/>
                  </a:cubicBezTo>
                  <a:cubicBezTo>
                    <a:pt x="836" y="1771"/>
                    <a:pt x="836" y="1771"/>
                    <a:pt x="836" y="1771"/>
                  </a:cubicBezTo>
                  <a:cubicBezTo>
                    <a:pt x="836" y="1771"/>
                    <a:pt x="836" y="1771"/>
                    <a:pt x="836" y="1771"/>
                  </a:cubicBezTo>
                  <a:cubicBezTo>
                    <a:pt x="842" y="1758"/>
                    <a:pt x="848" y="1745"/>
                    <a:pt x="854" y="1732"/>
                  </a:cubicBezTo>
                  <a:cubicBezTo>
                    <a:pt x="856" y="1730"/>
                    <a:pt x="857" y="1728"/>
                    <a:pt x="858" y="1726"/>
                  </a:cubicBezTo>
                  <a:cubicBezTo>
                    <a:pt x="862" y="1716"/>
                    <a:pt x="862" y="1716"/>
                    <a:pt x="862" y="1716"/>
                  </a:cubicBezTo>
                  <a:cubicBezTo>
                    <a:pt x="864" y="1712"/>
                    <a:pt x="868" y="1708"/>
                    <a:pt x="872" y="1704"/>
                  </a:cubicBezTo>
                  <a:cubicBezTo>
                    <a:pt x="873" y="1704"/>
                    <a:pt x="874" y="1703"/>
                    <a:pt x="875" y="1702"/>
                  </a:cubicBezTo>
                  <a:cubicBezTo>
                    <a:pt x="875" y="1702"/>
                    <a:pt x="876" y="1701"/>
                    <a:pt x="877" y="1701"/>
                  </a:cubicBezTo>
                  <a:cubicBezTo>
                    <a:pt x="878" y="1700"/>
                    <a:pt x="878" y="1700"/>
                    <a:pt x="879" y="1699"/>
                  </a:cubicBezTo>
                  <a:cubicBezTo>
                    <a:pt x="880" y="1699"/>
                    <a:pt x="880" y="1699"/>
                    <a:pt x="880" y="1699"/>
                  </a:cubicBezTo>
                  <a:cubicBezTo>
                    <a:pt x="881" y="1698"/>
                    <a:pt x="881" y="1698"/>
                    <a:pt x="882" y="1698"/>
                  </a:cubicBezTo>
                  <a:cubicBezTo>
                    <a:pt x="883" y="1697"/>
                    <a:pt x="885" y="1696"/>
                    <a:pt x="886" y="1695"/>
                  </a:cubicBezTo>
                  <a:cubicBezTo>
                    <a:pt x="887" y="1695"/>
                    <a:pt x="888" y="1695"/>
                    <a:pt x="889" y="1694"/>
                  </a:cubicBezTo>
                  <a:cubicBezTo>
                    <a:pt x="890" y="1694"/>
                    <a:pt x="891" y="1693"/>
                    <a:pt x="893" y="1693"/>
                  </a:cubicBezTo>
                  <a:cubicBezTo>
                    <a:pt x="895" y="1692"/>
                    <a:pt x="897" y="1691"/>
                    <a:pt x="899" y="1690"/>
                  </a:cubicBezTo>
                  <a:cubicBezTo>
                    <a:pt x="900" y="1690"/>
                    <a:pt x="901" y="1690"/>
                    <a:pt x="903" y="1689"/>
                  </a:cubicBezTo>
                  <a:cubicBezTo>
                    <a:pt x="903" y="1689"/>
                    <a:pt x="904" y="1689"/>
                    <a:pt x="904" y="1689"/>
                  </a:cubicBezTo>
                  <a:cubicBezTo>
                    <a:pt x="910" y="1687"/>
                    <a:pt x="917" y="1687"/>
                    <a:pt x="923" y="1687"/>
                  </a:cubicBezTo>
                  <a:cubicBezTo>
                    <a:pt x="923" y="1687"/>
                    <a:pt x="1503" y="1685"/>
                    <a:pt x="1525" y="1685"/>
                  </a:cubicBezTo>
                  <a:cubicBezTo>
                    <a:pt x="1531" y="1685"/>
                    <a:pt x="1538" y="1685"/>
                    <a:pt x="1545" y="1685"/>
                  </a:cubicBezTo>
                  <a:cubicBezTo>
                    <a:pt x="1548" y="1685"/>
                    <a:pt x="1551" y="1685"/>
                    <a:pt x="1554" y="1686"/>
                  </a:cubicBezTo>
                  <a:cubicBezTo>
                    <a:pt x="1554" y="1686"/>
                    <a:pt x="1555" y="1686"/>
                    <a:pt x="1555" y="1686"/>
                  </a:cubicBezTo>
                  <a:cubicBezTo>
                    <a:pt x="1557" y="1686"/>
                    <a:pt x="1560" y="1686"/>
                    <a:pt x="1562" y="1687"/>
                  </a:cubicBezTo>
                  <a:cubicBezTo>
                    <a:pt x="1562" y="1687"/>
                    <a:pt x="1563" y="1687"/>
                    <a:pt x="1563" y="1687"/>
                  </a:cubicBezTo>
                  <a:cubicBezTo>
                    <a:pt x="1563" y="1687"/>
                    <a:pt x="1563" y="1687"/>
                    <a:pt x="1563" y="1687"/>
                  </a:cubicBezTo>
                  <a:cubicBezTo>
                    <a:pt x="1566" y="1688"/>
                    <a:pt x="1568" y="1689"/>
                    <a:pt x="1570" y="1690"/>
                  </a:cubicBezTo>
                  <a:cubicBezTo>
                    <a:pt x="1570" y="1690"/>
                    <a:pt x="1571" y="1690"/>
                    <a:pt x="1571" y="1690"/>
                  </a:cubicBezTo>
                  <a:cubicBezTo>
                    <a:pt x="1573" y="1691"/>
                    <a:pt x="1575" y="1692"/>
                    <a:pt x="1577" y="1693"/>
                  </a:cubicBezTo>
                  <a:cubicBezTo>
                    <a:pt x="1577" y="1693"/>
                    <a:pt x="1577" y="1693"/>
                    <a:pt x="1578" y="1693"/>
                  </a:cubicBezTo>
                  <a:cubicBezTo>
                    <a:pt x="1578" y="1694"/>
                    <a:pt x="1578" y="1694"/>
                    <a:pt x="1578" y="1694"/>
                  </a:cubicBezTo>
                  <a:cubicBezTo>
                    <a:pt x="1580" y="1695"/>
                    <a:pt x="1581" y="1696"/>
                    <a:pt x="1582" y="1697"/>
                  </a:cubicBezTo>
                  <a:cubicBezTo>
                    <a:pt x="1584" y="1698"/>
                    <a:pt x="1586" y="1700"/>
                    <a:pt x="1588" y="1703"/>
                  </a:cubicBezTo>
                  <a:cubicBezTo>
                    <a:pt x="1590" y="1706"/>
                    <a:pt x="1592" y="1710"/>
                    <a:pt x="1592" y="1714"/>
                  </a:cubicBezTo>
                  <a:cubicBezTo>
                    <a:pt x="1592" y="1717"/>
                    <a:pt x="1592" y="1717"/>
                    <a:pt x="1592" y="1717"/>
                  </a:cubicBezTo>
                  <a:cubicBezTo>
                    <a:pt x="1592" y="1717"/>
                    <a:pt x="1592" y="1717"/>
                    <a:pt x="1592" y="1717"/>
                  </a:cubicBezTo>
                  <a:cubicBezTo>
                    <a:pt x="1592" y="1731"/>
                    <a:pt x="1592" y="1746"/>
                    <a:pt x="1592" y="1760"/>
                  </a:cubicBezTo>
                  <a:cubicBezTo>
                    <a:pt x="1592" y="1764"/>
                    <a:pt x="1593" y="1767"/>
                    <a:pt x="1592" y="1771"/>
                  </a:cubicBezTo>
                  <a:close/>
                  <a:moveTo>
                    <a:pt x="1671" y="1490"/>
                  </a:moveTo>
                  <a:cubicBezTo>
                    <a:pt x="1671" y="1490"/>
                    <a:pt x="1670" y="1489"/>
                    <a:pt x="1670" y="1489"/>
                  </a:cubicBezTo>
                  <a:cubicBezTo>
                    <a:pt x="1670" y="1489"/>
                    <a:pt x="1669" y="1489"/>
                    <a:pt x="1669" y="1488"/>
                  </a:cubicBezTo>
                  <a:cubicBezTo>
                    <a:pt x="1667" y="1486"/>
                    <a:pt x="1666" y="1483"/>
                    <a:pt x="1665" y="1480"/>
                  </a:cubicBezTo>
                  <a:cubicBezTo>
                    <a:pt x="1665" y="1477"/>
                    <a:pt x="1665" y="1477"/>
                    <a:pt x="1665" y="1477"/>
                  </a:cubicBezTo>
                  <a:cubicBezTo>
                    <a:pt x="1665" y="1475"/>
                    <a:pt x="1665" y="1473"/>
                    <a:pt x="1665" y="1471"/>
                  </a:cubicBezTo>
                  <a:cubicBezTo>
                    <a:pt x="1665" y="1471"/>
                    <a:pt x="1665" y="1471"/>
                    <a:pt x="1665" y="1471"/>
                  </a:cubicBezTo>
                  <a:cubicBezTo>
                    <a:pt x="1664" y="1463"/>
                    <a:pt x="1662" y="1454"/>
                    <a:pt x="1663" y="1445"/>
                  </a:cubicBezTo>
                  <a:cubicBezTo>
                    <a:pt x="1663" y="1443"/>
                    <a:pt x="1663" y="1443"/>
                    <a:pt x="1663" y="1443"/>
                  </a:cubicBezTo>
                  <a:cubicBezTo>
                    <a:pt x="1662" y="1440"/>
                    <a:pt x="1663" y="1437"/>
                    <a:pt x="1665" y="1435"/>
                  </a:cubicBezTo>
                  <a:cubicBezTo>
                    <a:pt x="1667" y="1433"/>
                    <a:pt x="1669" y="1431"/>
                    <a:pt x="1673" y="1429"/>
                  </a:cubicBezTo>
                  <a:cubicBezTo>
                    <a:pt x="1676" y="1427"/>
                    <a:pt x="1680" y="1426"/>
                    <a:pt x="1684" y="1425"/>
                  </a:cubicBezTo>
                  <a:cubicBezTo>
                    <a:pt x="1684" y="1425"/>
                    <a:pt x="1684" y="1425"/>
                    <a:pt x="1684" y="1425"/>
                  </a:cubicBezTo>
                  <a:cubicBezTo>
                    <a:pt x="1685" y="1425"/>
                    <a:pt x="1685" y="1425"/>
                    <a:pt x="1685" y="1425"/>
                  </a:cubicBezTo>
                  <a:cubicBezTo>
                    <a:pt x="1687" y="1424"/>
                    <a:pt x="1689" y="1424"/>
                    <a:pt x="1690" y="1424"/>
                  </a:cubicBezTo>
                  <a:cubicBezTo>
                    <a:pt x="1691" y="1424"/>
                    <a:pt x="1692" y="1424"/>
                    <a:pt x="1693" y="1424"/>
                  </a:cubicBezTo>
                  <a:cubicBezTo>
                    <a:pt x="1700" y="1423"/>
                    <a:pt x="1708" y="1423"/>
                    <a:pt x="1716" y="1423"/>
                  </a:cubicBezTo>
                  <a:cubicBezTo>
                    <a:pt x="1769" y="1423"/>
                    <a:pt x="1769" y="1423"/>
                    <a:pt x="1769" y="1423"/>
                  </a:cubicBezTo>
                  <a:cubicBezTo>
                    <a:pt x="1772" y="1423"/>
                    <a:pt x="1775" y="1423"/>
                    <a:pt x="1778" y="1424"/>
                  </a:cubicBezTo>
                  <a:cubicBezTo>
                    <a:pt x="1792" y="1425"/>
                    <a:pt x="1808" y="1429"/>
                    <a:pt x="1810" y="1442"/>
                  </a:cubicBezTo>
                  <a:cubicBezTo>
                    <a:pt x="1814" y="1454"/>
                    <a:pt x="1815" y="1466"/>
                    <a:pt x="1817" y="1478"/>
                  </a:cubicBezTo>
                  <a:cubicBezTo>
                    <a:pt x="1818" y="1480"/>
                    <a:pt x="1818" y="1480"/>
                    <a:pt x="1818" y="1480"/>
                  </a:cubicBezTo>
                  <a:cubicBezTo>
                    <a:pt x="1818" y="1482"/>
                    <a:pt x="1818" y="1485"/>
                    <a:pt x="1817" y="1487"/>
                  </a:cubicBezTo>
                  <a:cubicBezTo>
                    <a:pt x="1817" y="1487"/>
                    <a:pt x="1817" y="1488"/>
                    <a:pt x="1816" y="1488"/>
                  </a:cubicBezTo>
                  <a:cubicBezTo>
                    <a:pt x="1816" y="1488"/>
                    <a:pt x="1816" y="1488"/>
                    <a:pt x="1816" y="1488"/>
                  </a:cubicBezTo>
                  <a:cubicBezTo>
                    <a:pt x="1816" y="1488"/>
                    <a:pt x="1816" y="1488"/>
                    <a:pt x="1816" y="1488"/>
                  </a:cubicBezTo>
                  <a:cubicBezTo>
                    <a:pt x="1813" y="1494"/>
                    <a:pt x="1807" y="1497"/>
                    <a:pt x="1799" y="1499"/>
                  </a:cubicBezTo>
                  <a:cubicBezTo>
                    <a:pt x="1798" y="1499"/>
                    <a:pt x="1798" y="1499"/>
                    <a:pt x="1797" y="1499"/>
                  </a:cubicBezTo>
                  <a:cubicBezTo>
                    <a:pt x="1796" y="1500"/>
                    <a:pt x="1796" y="1500"/>
                    <a:pt x="1795" y="1500"/>
                  </a:cubicBezTo>
                  <a:cubicBezTo>
                    <a:pt x="1794" y="1500"/>
                    <a:pt x="1794" y="1500"/>
                    <a:pt x="1793" y="1500"/>
                  </a:cubicBezTo>
                  <a:cubicBezTo>
                    <a:pt x="1792" y="1500"/>
                    <a:pt x="1790" y="1501"/>
                    <a:pt x="1789" y="1501"/>
                  </a:cubicBezTo>
                  <a:cubicBezTo>
                    <a:pt x="1771" y="1503"/>
                    <a:pt x="1750" y="1501"/>
                    <a:pt x="1741" y="1501"/>
                  </a:cubicBezTo>
                  <a:cubicBezTo>
                    <a:pt x="1707" y="1501"/>
                    <a:pt x="1707" y="1501"/>
                    <a:pt x="1707" y="1501"/>
                  </a:cubicBezTo>
                  <a:cubicBezTo>
                    <a:pt x="1704" y="1501"/>
                    <a:pt x="1702" y="1501"/>
                    <a:pt x="1699" y="1501"/>
                  </a:cubicBezTo>
                  <a:cubicBezTo>
                    <a:pt x="1697" y="1501"/>
                    <a:pt x="1695" y="1500"/>
                    <a:pt x="1693" y="1500"/>
                  </a:cubicBezTo>
                  <a:cubicBezTo>
                    <a:pt x="1693" y="1500"/>
                    <a:pt x="1692" y="1500"/>
                    <a:pt x="1692" y="1500"/>
                  </a:cubicBezTo>
                  <a:cubicBezTo>
                    <a:pt x="1691" y="1500"/>
                    <a:pt x="1691" y="1500"/>
                    <a:pt x="1691" y="1500"/>
                  </a:cubicBezTo>
                  <a:cubicBezTo>
                    <a:pt x="1689" y="1499"/>
                    <a:pt x="1687" y="1499"/>
                    <a:pt x="1685" y="1498"/>
                  </a:cubicBezTo>
                  <a:cubicBezTo>
                    <a:pt x="1684" y="1498"/>
                    <a:pt x="1684" y="1497"/>
                    <a:pt x="1683" y="1497"/>
                  </a:cubicBezTo>
                  <a:cubicBezTo>
                    <a:pt x="1681" y="1496"/>
                    <a:pt x="1680" y="1496"/>
                    <a:pt x="1678" y="1495"/>
                  </a:cubicBezTo>
                  <a:cubicBezTo>
                    <a:pt x="1676" y="1494"/>
                    <a:pt x="1674" y="1492"/>
                    <a:pt x="1672" y="1491"/>
                  </a:cubicBezTo>
                  <a:cubicBezTo>
                    <a:pt x="1672" y="1491"/>
                    <a:pt x="1671" y="1490"/>
                    <a:pt x="1671" y="1490"/>
                  </a:cubicBezTo>
                  <a:close/>
                  <a:moveTo>
                    <a:pt x="1680" y="1622"/>
                  </a:moveTo>
                  <a:cubicBezTo>
                    <a:pt x="1677" y="1618"/>
                    <a:pt x="1676" y="1615"/>
                    <a:pt x="1675" y="1612"/>
                  </a:cubicBezTo>
                  <a:cubicBezTo>
                    <a:pt x="1675" y="1607"/>
                    <a:pt x="1675" y="1607"/>
                    <a:pt x="1675" y="1607"/>
                  </a:cubicBezTo>
                  <a:cubicBezTo>
                    <a:pt x="1675" y="1607"/>
                    <a:pt x="1675" y="1607"/>
                    <a:pt x="1675" y="1607"/>
                  </a:cubicBezTo>
                  <a:cubicBezTo>
                    <a:pt x="1674" y="1593"/>
                    <a:pt x="1673" y="1580"/>
                    <a:pt x="1672" y="1567"/>
                  </a:cubicBezTo>
                  <a:cubicBezTo>
                    <a:pt x="1672" y="1567"/>
                    <a:pt x="1672" y="1567"/>
                    <a:pt x="1672" y="1567"/>
                  </a:cubicBezTo>
                  <a:cubicBezTo>
                    <a:pt x="1672" y="1566"/>
                    <a:pt x="1672" y="1566"/>
                    <a:pt x="1672" y="1566"/>
                  </a:cubicBezTo>
                  <a:cubicBezTo>
                    <a:pt x="1672" y="1565"/>
                    <a:pt x="1672" y="1564"/>
                    <a:pt x="1672" y="1563"/>
                  </a:cubicBezTo>
                  <a:cubicBezTo>
                    <a:pt x="1675" y="1535"/>
                    <a:pt x="1735" y="1542"/>
                    <a:pt x="1754" y="1542"/>
                  </a:cubicBezTo>
                  <a:cubicBezTo>
                    <a:pt x="1776" y="1542"/>
                    <a:pt x="1819" y="1537"/>
                    <a:pt x="1832" y="1559"/>
                  </a:cubicBezTo>
                  <a:cubicBezTo>
                    <a:pt x="1833" y="1561"/>
                    <a:pt x="1835" y="1563"/>
                    <a:pt x="1835" y="1565"/>
                  </a:cubicBezTo>
                  <a:cubicBezTo>
                    <a:pt x="1836" y="1568"/>
                    <a:pt x="1836" y="1568"/>
                    <a:pt x="1836" y="1568"/>
                  </a:cubicBezTo>
                  <a:cubicBezTo>
                    <a:pt x="1836" y="1568"/>
                    <a:pt x="1836" y="1568"/>
                    <a:pt x="1836" y="1568"/>
                  </a:cubicBezTo>
                  <a:cubicBezTo>
                    <a:pt x="1837" y="1575"/>
                    <a:pt x="1838" y="1581"/>
                    <a:pt x="1840" y="1588"/>
                  </a:cubicBezTo>
                  <a:cubicBezTo>
                    <a:pt x="1844" y="1611"/>
                    <a:pt x="1844" y="1611"/>
                    <a:pt x="1844" y="1611"/>
                  </a:cubicBezTo>
                  <a:cubicBezTo>
                    <a:pt x="1845" y="1615"/>
                    <a:pt x="1844" y="1618"/>
                    <a:pt x="1843" y="1621"/>
                  </a:cubicBezTo>
                  <a:cubicBezTo>
                    <a:pt x="1842" y="1623"/>
                    <a:pt x="1840" y="1625"/>
                    <a:pt x="1838" y="1627"/>
                  </a:cubicBezTo>
                  <a:cubicBezTo>
                    <a:pt x="1838" y="1627"/>
                    <a:pt x="1837" y="1628"/>
                    <a:pt x="1836" y="1629"/>
                  </a:cubicBezTo>
                  <a:cubicBezTo>
                    <a:pt x="1836" y="1629"/>
                    <a:pt x="1835" y="1629"/>
                    <a:pt x="1835" y="1630"/>
                  </a:cubicBezTo>
                  <a:cubicBezTo>
                    <a:pt x="1835" y="1630"/>
                    <a:pt x="1834" y="1630"/>
                    <a:pt x="1834" y="1630"/>
                  </a:cubicBezTo>
                  <a:cubicBezTo>
                    <a:pt x="1833" y="1631"/>
                    <a:pt x="1832" y="1631"/>
                    <a:pt x="1830" y="1632"/>
                  </a:cubicBezTo>
                  <a:cubicBezTo>
                    <a:pt x="1829" y="1633"/>
                    <a:pt x="1828" y="1633"/>
                    <a:pt x="1827" y="1634"/>
                  </a:cubicBezTo>
                  <a:cubicBezTo>
                    <a:pt x="1826" y="1634"/>
                    <a:pt x="1825" y="1634"/>
                    <a:pt x="1825" y="1634"/>
                  </a:cubicBezTo>
                  <a:cubicBezTo>
                    <a:pt x="1824" y="1635"/>
                    <a:pt x="1823" y="1635"/>
                    <a:pt x="1822" y="1635"/>
                  </a:cubicBezTo>
                  <a:cubicBezTo>
                    <a:pt x="1821" y="1635"/>
                    <a:pt x="1820" y="1636"/>
                    <a:pt x="1819" y="1636"/>
                  </a:cubicBezTo>
                  <a:cubicBezTo>
                    <a:pt x="1818" y="1636"/>
                    <a:pt x="1818" y="1636"/>
                    <a:pt x="1818" y="1636"/>
                  </a:cubicBezTo>
                  <a:cubicBezTo>
                    <a:pt x="1816" y="1636"/>
                    <a:pt x="1814" y="1637"/>
                    <a:pt x="1812" y="1637"/>
                  </a:cubicBezTo>
                  <a:cubicBezTo>
                    <a:pt x="1809" y="1637"/>
                    <a:pt x="1807" y="1637"/>
                    <a:pt x="1805" y="1637"/>
                  </a:cubicBezTo>
                  <a:cubicBezTo>
                    <a:pt x="1805" y="1637"/>
                    <a:pt x="1805" y="1637"/>
                    <a:pt x="1805" y="1637"/>
                  </a:cubicBezTo>
                  <a:cubicBezTo>
                    <a:pt x="1804" y="1637"/>
                    <a:pt x="1804" y="1637"/>
                    <a:pt x="1804" y="1637"/>
                  </a:cubicBezTo>
                  <a:cubicBezTo>
                    <a:pt x="1804" y="1637"/>
                    <a:pt x="1804" y="1637"/>
                    <a:pt x="1804" y="1637"/>
                  </a:cubicBezTo>
                  <a:cubicBezTo>
                    <a:pt x="1777" y="1637"/>
                    <a:pt x="1750" y="1637"/>
                    <a:pt x="1722" y="1638"/>
                  </a:cubicBezTo>
                  <a:cubicBezTo>
                    <a:pt x="1719" y="1638"/>
                    <a:pt x="1716" y="1637"/>
                    <a:pt x="1714" y="1637"/>
                  </a:cubicBezTo>
                  <a:cubicBezTo>
                    <a:pt x="1713" y="1637"/>
                    <a:pt x="1712" y="1637"/>
                    <a:pt x="1712" y="1637"/>
                  </a:cubicBezTo>
                  <a:cubicBezTo>
                    <a:pt x="1709" y="1636"/>
                    <a:pt x="1707" y="1636"/>
                    <a:pt x="1705" y="1636"/>
                  </a:cubicBezTo>
                  <a:cubicBezTo>
                    <a:pt x="1705" y="1636"/>
                    <a:pt x="1705" y="1636"/>
                    <a:pt x="1705" y="1636"/>
                  </a:cubicBezTo>
                  <a:cubicBezTo>
                    <a:pt x="1704" y="1635"/>
                    <a:pt x="1704" y="1635"/>
                    <a:pt x="1704" y="1635"/>
                  </a:cubicBezTo>
                  <a:cubicBezTo>
                    <a:pt x="1701" y="1635"/>
                    <a:pt x="1699" y="1634"/>
                    <a:pt x="1697" y="1633"/>
                  </a:cubicBezTo>
                  <a:cubicBezTo>
                    <a:pt x="1696" y="1633"/>
                    <a:pt x="1695" y="1632"/>
                    <a:pt x="1695" y="1632"/>
                  </a:cubicBezTo>
                  <a:cubicBezTo>
                    <a:pt x="1693" y="1632"/>
                    <a:pt x="1692" y="1631"/>
                    <a:pt x="1691" y="1630"/>
                  </a:cubicBezTo>
                  <a:cubicBezTo>
                    <a:pt x="1691" y="1630"/>
                    <a:pt x="1690" y="1630"/>
                    <a:pt x="1690" y="1630"/>
                  </a:cubicBezTo>
                  <a:cubicBezTo>
                    <a:pt x="1686" y="1628"/>
                    <a:pt x="1682" y="1625"/>
                    <a:pt x="1680" y="1622"/>
                  </a:cubicBezTo>
                  <a:close/>
                  <a:moveTo>
                    <a:pt x="1875" y="1783"/>
                  </a:moveTo>
                  <a:cubicBezTo>
                    <a:pt x="1873" y="1787"/>
                    <a:pt x="1870" y="1790"/>
                    <a:pt x="1866" y="1793"/>
                  </a:cubicBezTo>
                  <a:cubicBezTo>
                    <a:pt x="1862" y="1796"/>
                    <a:pt x="1858" y="1799"/>
                    <a:pt x="1852" y="1800"/>
                  </a:cubicBezTo>
                  <a:cubicBezTo>
                    <a:pt x="1846" y="1802"/>
                    <a:pt x="1840" y="1803"/>
                    <a:pt x="1833" y="1803"/>
                  </a:cubicBezTo>
                  <a:cubicBezTo>
                    <a:pt x="1815" y="1803"/>
                    <a:pt x="1815" y="1803"/>
                    <a:pt x="1815" y="1803"/>
                  </a:cubicBezTo>
                  <a:cubicBezTo>
                    <a:pt x="1814" y="1803"/>
                    <a:pt x="1814" y="1803"/>
                    <a:pt x="1814" y="1803"/>
                  </a:cubicBezTo>
                  <a:cubicBezTo>
                    <a:pt x="1789" y="1803"/>
                    <a:pt x="1765" y="1803"/>
                    <a:pt x="1740" y="1803"/>
                  </a:cubicBezTo>
                  <a:cubicBezTo>
                    <a:pt x="1737" y="1803"/>
                    <a:pt x="1734" y="1803"/>
                    <a:pt x="1731" y="1803"/>
                  </a:cubicBezTo>
                  <a:cubicBezTo>
                    <a:pt x="1730" y="1803"/>
                    <a:pt x="1730" y="1803"/>
                    <a:pt x="1729" y="1803"/>
                  </a:cubicBezTo>
                  <a:cubicBezTo>
                    <a:pt x="1726" y="1802"/>
                    <a:pt x="1724" y="1802"/>
                    <a:pt x="1721" y="1801"/>
                  </a:cubicBezTo>
                  <a:cubicBezTo>
                    <a:pt x="1721" y="1801"/>
                    <a:pt x="1721" y="1801"/>
                    <a:pt x="1720" y="1801"/>
                  </a:cubicBezTo>
                  <a:cubicBezTo>
                    <a:pt x="1720" y="1801"/>
                    <a:pt x="1720" y="1801"/>
                    <a:pt x="1720" y="1801"/>
                  </a:cubicBezTo>
                  <a:cubicBezTo>
                    <a:pt x="1709" y="1798"/>
                    <a:pt x="1698" y="1792"/>
                    <a:pt x="1692" y="1783"/>
                  </a:cubicBezTo>
                  <a:cubicBezTo>
                    <a:pt x="1692" y="1783"/>
                    <a:pt x="1692" y="1783"/>
                    <a:pt x="1692" y="1783"/>
                  </a:cubicBezTo>
                  <a:cubicBezTo>
                    <a:pt x="1692" y="1783"/>
                    <a:pt x="1692" y="1783"/>
                    <a:pt x="1692" y="1783"/>
                  </a:cubicBezTo>
                  <a:cubicBezTo>
                    <a:pt x="1691" y="1782"/>
                    <a:pt x="1690" y="1780"/>
                    <a:pt x="1690" y="1778"/>
                  </a:cubicBezTo>
                  <a:cubicBezTo>
                    <a:pt x="1689" y="1777"/>
                    <a:pt x="1689" y="1776"/>
                    <a:pt x="1689" y="1775"/>
                  </a:cubicBezTo>
                  <a:cubicBezTo>
                    <a:pt x="1688" y="1774"/>
                    <a:pt x="1688" y="1773"/>
                    <a:pt x="1688" y="1772"/>
                  </a:cubicBezTo>
                  <a:cubicBezTo>
                    <a:pt x="1688" y="1772"/>
                    <a:pt x="1688" y="1771"/>
                    <a:pt x="1688" y="1771"/>
                  </a:cubicBezTo>
                  <a:cubicBezTo>
                    <a:pt x="1687" y="1769"/>
                    <a:pt x="1687" y="1769"/>
                    <a:pt x="1687" y="1769"/>
                  </a:cubicBezTo>
                  <a:cubicBezTo>
                    <a:pt x="1687" y="1769"/>
                    <a:pt x="1687" y="1769"/>
                    <a:pt x="1687" y="1769"/>
                  </a:cubicBezTo>
                  <a:cubicBezTo>
                    <a:pt x="1686" y="1756"/>
                    <a:pt x="1685" y="1742"/>
                    <a:pt x="1684" y="1728"/>
                  </a:cubicBezTo>
                  <a:cubicBezTo>
                    <a:pt x="1684" y="1725"/>
                    <a:pt x="1684" y="1723"/>
                    <a:pt x="1684" y="1721"/>
                  </a:cubicBezTo>
                  <a:cubicBezTo>
                    <a:pt x="1683" y="1714"/>
                    <a:pt x="1683" y="1714"/>
                    <a:pt x="1683" y="1714"/>
                  </a:cubicBezTo>
                  <a:cubicBezTo>
                    <a:pt x="1683" y="1713"/>
                    <a:pt x="1683" y="1713"/>
                    <a:pt x="1683" y="1713"/>
                  </a:cubicBezTo>
                  <a:cubicBezTo>
                    <a:pt x="1683" y="1711"/>
                    <a:pt x="1683" y="1710"/>
                    <a:pt x="1684" y="1709"/>
                  </a:cubicBezTo>
                  <a:cubicBezTo>
                    <a:pt x="1684" y="1708"/>
                    <a:pt x="1684" y="1707"/>
                    <a:pt x="1684" y="1707"/>
                  </a:cubicBezTo>
                  <a:cubicBezTo>
                    <a:pt x="1685" y="1706"/>
                    <a:pt x="1685" y="1705"/>
                    <a:pt x="1685" y="1704"/>
                  </a:cubicBezTo>
                  <a:cubicBezTo>
                    <a:pt x="1686" y="1703"/>
                    <a:pt x="1686" y="1703"/>
                    <a:pt x="1686" y="1702"/>
                  </a:cubicBezTo>
                  <a:cubicBezTo>
                    <a:pt x="1686" y="1702"/>
                    <a:pt x="1686" y="1702"/>
                    <a:pt x="1686" y="1702"/>
                  </a:cubicBezTo>
                  <a:cubicBezTo>
                    <a:pt x="1687" y="1700"/>
                    <a:pt x="1688" y="1699"/>
                    <a:pt x="1689" y="1698"/>
                  </a:cubicBezTo>
                  <a:cubicBezTo>
                    <a:pt x="1690" y="1697"/>
                    <a:pt x="1691" y="1697"/>
                    <a:pt x="1691" y="1696"/>
                  </a:cubicBezTo>
                  <a:cubicBezTo>
                    <a:pt x="1692" y="1695"/>
                    <a:pt x="1693" y="1695"/>
                    <a:pt x="1694" y="1694"/>
                  </a:cubicBezTo>
                  <a:cubicBezTo>
                    <a:pt x="1695" y="1694"/>
                    <a:pt x="1695" y="1693"/>
                    <a:pt x="1695" y="1693"/>
                  </a:cubicBezTo>
                  <a:cubicBezTo>
                    <a:pt x="1695" y="1693"/>
                    <a:pt x="1696" y="1693"/>
                    <a:pt x="1696" y="1693"/>
                  </a:cubicBezTo>
                  <a:cubicBezTo>
                    <a:pt x="1698" y="1692"/>
                    <a:pt x="1699" y="1691"/>
                    <a:pt x="1701" y="1690"/>
                  </a:cubicBezTo>
                  <a:cubicBezTo>
                    <a:pt x="1702" y="1690"/>
                    <a:pt x="1702" y="1689"/>
                    <a:pt x="1702" y="1689"/>
                  </a:cubicBezTo>
                  <a:cubicBezTo>
                    <a:pt x="1703" y="1689"/>
                    <a:pt x="1703" y="1689"/>
                    <a:pt x="1703" y="1689"/>
                  </a:cubicBezTo>
                  <a:cubicBezTo>
                    <a:pt x="1704" y="1689"/>
                    <a:pt x="1704" y="1689"/>
                    <a:pt x="1705" y="1688"/>
                  </a:cubicBezTo>
                  <a:cubicBezTo>
                    <a:pt x="1706" y="1688"/>
                    <a:pt x="1708" y="1687"/>
                    <a:pt x="1709" y="1687"/>
                  </a:cubicBezTo>
                  <a:cubicBezTo>
                    <a:pt x="1710" y="1687"/>
                    <a:pt x="1711" y="1686"/>
                    <a:pt x="1712" y="1686"/>
                  </a:cubicBezTo>
                  <a:cubicBezTo>
                    <a:pt x="1713" y="1686"/>
                    <a:pt x="1714" y="1686"/>
                    <a:pt x="1714" y="1686"/>
                  </a:cubicBezTo>
                  <a:cubicBezTo>
                    <a:pt x="1717" y="1685"/>
                    <a:pt x="1720" y="1685"/>
                    <a:pt x="1723" y="1685"/>
                  </a:cubicBezTo>
                  <a:cubicBezTo>
                    <a:pt x="1723" y="1685"/>
                    <a:pt x="1724" y="1685"/>
                    <a:pt x="1724" y="1685"/>
                  </a:cubicBezTo>
                  <a:cubicBezTo>
                    <a:pt x="1725" y="1685"/>
                    <a:pt x="1726" y="1685"/>
                    <a:pt x="1727" y="1685"/>
                  </a:cubicBezTo>
                  <a:cubicBezTo>
                    <a:pt x="1731" y="1685"/>
                    <a:pt x="1731" y="1685"/>
                    <a:pt x="1731" y="1685"/>
                  </a:cubicBezTo>
                  <a:cubicBezTo>
                    <a:pt x="1736" y="1684"/>
                    <a:pt x="1740" y="1684"/>
                    <a:pt x="1744" y="1684"/>
                  </a:cubicBezTo>
                  <a:cubicBezTo>
                    <a:pt x="1748" y="1684"/>
                    <a:pt x="1752" y="1684"/>
                    <a:pt x="1755" y="1684"/>
                  </a:cubicBezTo>
                  <a:cubicBezTo>
                    <a:pt x="1791" y="1684"/>
                    <a:pt x="1791" y="1684"/>
                    <a:pt x="1791" y="1684"/>
                  </a:cubicBezTo>
                  <a:cubicBezTo>
                    <a:pt x="1801" y="1684"/>
                    <a:pt x="1811" y="1684"/>
                    <a:pt x="1820" y="1685"/>
                  </a:cubicBezTo>
                  <a:cubicBezTo>
                    <a:pt x="1822" y="1685"/>
                    <a:pt x="1823" y="1685"/>
                    <a:pt x="1825" y="1685"/>
                  </a:cubicBezTo>
                  <a:cubicBezTo>
                    <a:pt x="1826" y="1686"/>
                    <a:pt x="1827" y="1686"/>
                    <a:pt x="1828" y="1686"/>
                  </a:cubicBezTo>
                  <a:cubicBezTo>
                    <a:pt x="1828" y="1686"/>
                    <a:pt x="1829" y="1686"/>
                    <a:pt x="1830" y="1686"/>
                  </a:cubicBezTo>
                  <a:cubicBezTo>
                    <a:pt x="1830" y="1686"/>
                    <a:pt x="1831" y="1686"/>
                    <a:pt x="1831" y="1687"/>
                  </a:cubicBezTo>
                  <a:cubicBezTo>
                    <a:pt x="1832" y="1687"/>
                    <a:pt x="1832" y="1687"/>
                    <a:pt x="1833" y="1687"/>
                  </a:cubicBezTo>
                  <a:cubicBezTo>
                    <a:pt x="1834" y="1687"/>
                    <a:pt x="1836" y="1688"/>
                    <a:pt x="1838" y="1689"/>
                  </a:cubicBezTo>
                  <a:cubicBezTo>
                    <a:pt x="1839" y="1689"/>
                    <a:pt x="1840" y="1689"/>
                    <a:pt x="1841" y="1690"/>
                  </a:cubicBezTo>
                  <a:cubicBezTo>
                    <a:pt x="1842" y="1690"/>
                    <a:pt x="1842" y="1690"/>
                    <a:pt x="1843" y="1691"/>
                  </a:cubicBezTo>
                  <a:cubicBezTo>
                    <a:pt x="1845" y="1691"/>
                    <a:pt x="1846" y="1692"/>
                    <a:pt x="1847" y="1693"/>
                  </a:cubicBezTo>
                  <a:cubicBezTo>
                    <a:pt x="1852" y="1695"/>
                    <a:pt x="1856" y="1698"/>
                    <a:pt x="1859" y="1702"/>
                  </a:cubicBezTo>
                  <a:cubicBezTo>
                    <a:pt x="1862" y="1705"/>
                    <a:pt x="1864" y="1709"/>
                    <a:pt x="1865" y="1713"/>
                  </a:cubicBezTo>
                  <a:cubicBezTo>
                    <a:pt x="1870" y="1736"/>
                    <a:pt x="1870" y="1736"/>
                    <a:pt x="1870" y="1736"/>
                  </a:cubicBezTo>
                  <a:cubicBezTo>
                    <a:pt x="1871" y="1746"/>
                    <a:pt x="1873" y="1755"/>
                    <a:pt x="1875" y="1764"/>
                  </a:cubicBezTo>
                  <a:cubicBezTo>
                    <a:pt x="1875" y="1764"/>
                    <a:pt x="1875" y="1764"/>
                    <a:pt x="1875" y="1764"/>
                  </a:cubicBezTo>
                  <a:cubicBezTo>
                    <a:pt x="1876" y="1770"/>
                    <a:pt x="1876" y="1770"/>
                    <a:pt x="1876" y="1770"/>
                  </a:cubicBezTo>
                  <a:cubicBezTo>
                    <a:pt x="1877" y="1775"/>
                    <a:pt x="1877" y="1779"/>
                    <a:pt x="1875" y="1783"/>
                  </a:cubicBezTo>
                  <a:close/>
                  <a:moveTo>
                    <a:pt x="2041" y="1494"/>
                  </a:moveTo>
                  <a:cubicBezTo>
                    <a:pt x="2036" y="1492"/>
                    <a:pt x="2032" y="1490"/>
                    <a:pt x="2030" y="1487"/>
                  </a:cubicBezTo>
                  <a:cubicBezTo>
                    <a:pt x="2027" y="1485"/>
                    <a:pt x="2024" y="1482"/>
                    <a:pt x="2023" y="1479"/>
                  </a:cubicBezTo>
                  <a:cubicBezTo>
                    <a:pt x="2021" y="1474"/>
                    <a:pt x="2021" y="1474"/>
                    <a:pt x="2021" y="1474"/>
                  </a:cubicBezTo>
                  <a:cubicBezTo>
                    <a:pt x="2019" y="1467"/>
                    <a:pt x="2016" y="1460"/>
                    <a:pt x="2014" y="1453"/>
                  </a:cubicBezTo>
                  <a:cubicBezTo>
                    <a:pt x="2012" y="1449"/>
                    <a:pt x="2009" y="1444"/>
                    <a:pt x="2009" y="1439"/>
                  </a:cubicBezTo>
                  <a:cubicBezTo>
                    <a:pt x="2009" y="1439"/>
                    <a:pt x="2009" y="1438"/>
                    <a:pt x="2009" y="1437"/>
                  </a:cubicBezTo>
                  <a:cubicBezTo>
                    <a:pt x="2009" y="1437"/>
                    <a:pt x="2009" y="1437"/>
                    <a:pt x="2009" y="1437"/>
                  </a:cubicBezTo>
                  <a:cubicBezTo>
                    <a:pt x="2009" y="1436"/>
                    <a:pt x="2009" y="1436"/>
                    <a:pt x="2009" y="1436"/>
                  </a:cubicBezTo>
                  <a:cubicBezTo>
                    <a:pt x="2010" y="1435"/>
                    <a:pt x="2009" y="1435"/>
                    <a:pt x="2010" y="1434"/>
                  </a:cubicBezTo>
                  <a:cubicBezTo>
                    <a:pt x="2010" y="1434"/>
                    <a:pt x="2010" y="1434"/>
                    <a:pt x="2010" y="1434"/>
                  </a:cubicBezTo>
                  <a:cubicBezTo>
                    <a:pt x="2016" y="1421"/>
                    <a:pt x="2039" y="1423"/>
                    <a:pt x="2051" y="1423"/>
                  </a:cubicBezTo>
                  <a:cubicBezTo>
                    <a:pt x="2110" y="1422"/>
                    <a:pt x="2110" y="1422"/>
                    <a:pt x="2110" y="1422"/>
                  </a:cubicBezTo>
                  <a:cubicBezTo>
                    <a:pt x="2115" y="1422"/>
                    <a:pt x="2120" y="1423"/>
                    <a:pt x="2125" y="1424"/>
                  </a:cubicBezTo>
                  <a:cubicBezTo>
                    <a:pt x="2126" y="1424"/>
                    <a:pt x="2128" y="1424"/>
                    <a:pt x="2129" y="1425"/>
                  </a:cubicBezTo>
                  <a:cubicBezTo>
                    <a:pt x="2129" y="1425"/>
                    <a:pt x="2130" y="1425"/>
                    <a:pt x="2131" y="1425"/>
                  </a:cubicBezTo>
                  <a:cubicBezTo>
                    <a:pt x="2132" y="1425"/>
                    <a:pt x="2133" y="1426"/>
                    <a:pt x="2133" y="1426"/>
                  </a:cubicBezTo>
                  <a:cubicBezTo>
                    <a:pt x="2135" y="1426"/>
                    <a:pt x="2137" y="1427"/>
                    <a:pt x="2138" y="1428"/>
                  </a:cubicBezTo>
                  <a:cubicBezTo>
                    <a:pt x="2139" y="1428"/>
                    <a:pt x="2139" y="1428"/>
                    <a:pt x="2139" y="1428"/>
                  </a:cubicBezTo>
                  <a:cubicBezTo>
                    <a:pt x="2139" y="1428"/>
                    <a:pt x="2139" y="1428"/>
                    <a:pt x="2140" y="1428"/>
                  </a:cubicBezTo>
                  <a:cubicBezTo>
                    <a:pt x="2141" y="1429"/>
                    <a:pt x="2142" y="1429"/>
                    <a:pt x="2144" y="1430"/>
                  </a:cubicBezTo>
                  <a:cubicBezTo>
                    <a:pt x="2145" y="1431"/>
                    <a:pt x="2146" y="1431"/>
                    <a:pt x="2146" y="1431"/>
                  </a:cubicBezTo>
                  <a:cubicBezTo>
                    <a:pt x="2147" y="1432"/>
                    <a:pt x="2147" y="1432"/>
                    <a:pt x="2148" y="1432"/>
                  </a:cubicBezTo>
                  <a:cubicBezTo>
                    <a:pt x="2148" y="1433"/>
                    <a:pt x="2148" y="1433"/>
                    <a:pt x="2149" y="1433"/>
                  </a:cubicBezTo>
                  <a:cubicBezTo>
                    <a:pt x="2149" y="1433"/>
                    <a:pt x="2150" y="1434"/>
                    <a:pt x="2150" y="1434"/>
                  </a:cubicBezTo>
                  <a:cubicBezTo>
                    <a:pt x="2153" y="1436"/>
                    <a:pt x="2156" y="1439"/>
                    <a:pt x="2157" y="1442"/>
                  </a:cubicBezTo>
                  <a:cubicBezTo>
                    <a:pt x="2157" y="1442"/>
                    <a:pt x="2157" y="1442"/>
                    <a:pt x="2157" y="1442"/>
                  </a:cubicBezTo>
                  <a:cubicBezTo>
                    <a:pt x="2163" y="1450"/>
                    <a:pt x="2166" y="1460"/>
                    <a:pt x="2170" y="1468"/>
                  </a:cubicBezTo>
                  <a:cubicBezTo>
                    <a:pt x="2170" y="1468"/>
                    <a:pt x="2170" y="1468"/>
                    <a:pt x="2170" y="1468"/>
                  </a:cubicBezTo>
                  <a:cubicBezTo>
                    <a:pt x="2172" y="1473"/>
                    <a:pt x="2176" y="1477"/>
                    <a:pt x="2177" y="1482"/>
                  </a:cubicBezTo>
                  <a:cubicBezTo>
                    <a:pt x="2177" y="1482"/>
                    <a:pt x="2177" y="1483"/>
                    <a:pt x="2177" y="1483"/>
                  </a:cubicBezTo>
                  <a:cubicBezTo>
                    <a:pt x="2177" y="1483"/>
                    <a:pt x="2177" y="1483"/>
                    <a:pt x="2177" y="1483"/>
                  </a:cubicBezTo>
                  <a:cubicBezTo>
                    <a:pt x="2178" y="1492"/>
                    <a:pt x="2170" y="1496"/>
                    <a:pt x="2162" y="1498"/>
                  </a:cubicBezTo>
                  <a:cubicBezTo>
                    <a:pt x="2161" y="1498"/>
                    <a:pt x="2161" y="1498"/>
                    <a:pt x="2161" y="1499"/>
                  </a:cubicBezTo>
                  <a:cubicBezTo>
                    <a:pt x="2160" y="1499"/>
                    <a:pt x="2160" y="1499"/>
                    <a:pt x="2159" y="1499"/>
                  </a:cubicBezTo>
                  <a:cubicBezTo>
                    <a:pt x="2158" y="1499"/>
                    <a:pt x="2156" y="1499"/>
                    <a:pt x="2155" y="1500"/>
                  </a:cubicBezTo>
                  <a:cubicBezTo>
                    <a:pt x="2154" y="1500"/>
                    <a:pt x="2154" y="1500"/>
                    <a:pt x="2153" y="1500"/>
                  </a:cubicBezTo>
                  <a:cubicBezTo>
                    <a:pt x="2152" y="1500"/>
                    <a:pt x="2150" y="1500"/>
                    <a:pt x="2149" y="1500"/>
                  </a:cubicBezTo>
                  <a:cubicBezTo>
                    <a:pt x="2148" y="1500"/>
                    <a:pt x="2147" y="1500"/>
                    <a:pt x="2146" y="1500"/>
                  </a:cubicBezTo>
                  <a:cubicBezTo>
                    <a:pt x="2146" y="1500"/>
                    <a:pt x="2146" y="1500"/>
                    <a:pt x="2146" y="1500"/>
                  </a:cubicBezTo>
                  <a:cubicBezTo>
                    <a:pt x="2144" y="1500"/>
                    <a:pt x="2144" y="1500"/>
                    <a:pt x="2144" y="1500"/>
                  </a:cubicBezTo>
                  <a:cubicBezTo>
                    <a:pt x="2135" y="1500"/>
                    <a:pt x="2126" y="1500"/>
                    <a:pt x="2117" y="1500"/>
                  </a:cubicBezTo>
                  <a:cubicBezTo>
                    <a:pt x="2102" y="1500"/>
                    <a:pt x="2087" y="1500"/>
                    <a:pt x="2072" y="1500"/>
                  </a:cubicBezTo>
                  <a:cubicBezTo>
                    <a:pt x="2061" y="1500"/>
                    <a:pt x="2050" y="1499"/>
                    <a:pt x="2041" y="1494"/>
                  </a:cubicBezTo>
                  <a:cubicBezTo>
                    <a:pt x="2041" y="1494"/>
                    <a:pt x="2041" y="1494"/>
                    <a:pt x="2041" y="1494"/>
                  </a:cubicBezTo>
                  <a:close/>
                  <a:moveTo>
                    <a:pt x="2079" y="1621"/>
                  </a:moveTo>
                  <a:cubicBezTo>
                    <a:pt x="2076" y="1617"/>
                    <a:pt x="2073" y="1614"/>
                    <a:pt x="2072" y="1611"/>
                  </a:cubicBezTo>
                  <a:cubicBezTo>
                    <a:pt x="2064" y="1588"/>
                    <a:pt x="2064" y="1588"/>
                    <a:pt x="2064" y="1588"/>
                  </a:cubicBezTo>
                  <a:cubicBezTo>
                    <a:pt x="2061" y="1581"/>
                    <a:pt x="2059" y="1575"/>
                    <a:pt x="2056" y="1568"/>
                  </a:cubicBezTo>
                  <a:cubicBezTo>
                    <a:pt x="2056" y="1568"/>
                    <a:pt x="2056" y="1568"/>
                    <a:pt x="2056" y="1568"/>
                  </a:cubicBezTo>
                  <a:cubicBezTo>
                    <a:pt x="2055" y="1565"/>
                    <a:pt x="2055" y="1565"/>
                    <a:pt x="2055" y="1565"/>
                  </a:cubicBezTo>
                  <a:cubicBezTo>
                    <a:pt x="2054" y="1561"/>
                    <a:pt x="2054" y="1558"/>
                    <a:pt x="2055" y="1555"/>
                  </a:cubicBezTo>
                  <a:cubicBezTo>
                    <a:pt x="2056" y="1553"/>
                    <a:pt x="2057" y="1552"/>
                    <a:pt x="2059" y="1550"/>
                  </a:cubicBezTo>
                  <a:cubicBezTo>
                    <a:pt x="2059" y="1550"/>
                    <a:pt x="2059" y="1550"/>
                    <a:pt x="2060" y="1549"/>
                  </a:cubicBezTo>
                  <a:cubicBezTo>
                    <a:pt x="2060" y="1549"/>
                    <a:pt x="2061" y="1548"/>
                    <a:pt x="2061" y="1548"/>
                  </a:cubicBezTo>
                  <a:cubicBezTo>
                    <a:pt x="2064" y="1546"/>
                    <a:pt x="2068" y="1544"/>
                    <a:pt x="2072" y="1543"/>
                  </a:cubicBezTo>
                  <a:cubicBezTo>
                    <a:pt x="2076" y="1542"/>
                    <a:pt x="2080" y="1542"/>
                    <a:pt x="2084" y="1541"/>
                  </a:cubicBezTo>
                  <a:cubicBezTo>
                    <a:pt x="2100" y="1540"/>
                    <a:pt x="2117" y="1541"/>
                    <a:pt x="2125" y="1541"/>
                  </a:cubicBezTo>
                  <a:cubicBezTo>
                    <a:pt x="2153" y="1541"/>
                    <a:pt x="2202" y="1535"/>
                    <a:pt x="2218" y="1564"/>
                  </a:cubicBezTo>
                  <a:cubicBezTo>
                    <a:pt x="2218" y="1564"/>
                    <a:pt x="2218" y="1564"/>
                    <a:pt x="2218" y="1564"/>
                  </a:cubicBezTo>
                  <a:cubicBezTo>
                    <a:pt x="2218" y="1565"/>
                    <a:pt x="2218" y="1565"/>
                    <a:pt x="2218" y="1565"/>
                  </a:cubicBezTo>
                  <a:cubicBezTo>
                    <a:pt x="2218" y="1565"/>
                    <a:pt x="2218" y="1565"/>
                    <a:pt x="2218" y="1565"/>
                  </a:cubicBezTo>
                  <a:cubicBezTo>
                    <a:pt x="2224" y="1577"/>
                    <a:pt x="2230" y="1589"/>
                    <a:pt x="2236" y="1601"/>
                  </a:cubicBezTo>
                  <a:cubicBezTo>
                    <a:pt x="2238" y="1605"/>
                    <a:pt x="2241" y="1609"/>
                    <a:pt x="2242" y="1614"/>
                  </a:cubicBezTo>
                  <a:cubicBezTo>
                    <a:pt x="2242" y="1614"/>
                    <a:pt x="2242" y="1614"/>
                    <a:pt x="2242" y="1614"/>
                  </a:cubicBezTo>
                  <a:cubicBezTo>
                    <a:pt x="2242" y="1615"/>
                    <a:pt x="2242" y="1616"/>
                    <a:pt x="2242" y="1617"/>
                  </a:cubicBezTo>
                  <a:cubicBezTo>
                    <a:pt x="2242" y="1618"/>
                    <a:pt x="2242" y="1619"/>
                    <a:pt x="2242" y="1620"/>
                  </a:cubicBezTo>
                  <a:cubicBezTo>
                    <a:pt x="2242" y="1620"/>
                    <a:pt x="2242" y="1620"/>
                    <a:pt x="2242" y="1620"/>
                  </a:cubicBezTo>
                  <a:cubicBezTo>
                    <a:pt x="2242" y="1620"/>
                    <a:pt x="2242" y="1621"/>
                    <a:pt x="2242" y="1621"/>
                  </a:cubicBezTo>
                  <a:cubicBezTo>
                    <a:pt x="2242" y="1622"/>
                    <a:pt x="2241" y="1623"/>
                    <a:pt x="2240" y="1624"/>
                  </a:cubicBezTo>
                  <a:cubicBezTo>
                    <a:pt x="2240" y="1625"/>
                    <a:pt x="2240" y="1625"/>
                    <a:pt x="2240" y="1625"/>
                  </a:cubicBezTo>
                  <a:cubicBezTo>
                    <a:pt x="2239" y="1626"/>
                    <a:pt x="2238" y="1627"/>
                    <a:pt x="2237" y="1628"/>
                  </a:cubicBezTo>
                  <a:cubicBezTo>
                    <a:pt x="2237" y="1628"/>
                    <a:pt x="2237" y="1628"/>
                    <a:pt x="2237" y="1628"/>
                  </a:cubicBezTo>
                  <a:cubicBezTo>
                    <a:pt x="2236" y="1629"/>
                    <a:pt x="2236" y="1629"/>
                    <a:pt x="2236" y="1629"/>
                  </a:cubicBezTo>
                  <a:cubicBezTo>
                    <a:pt x="2235" y="1630"/>
                    <a:pt x="2234" y="1630"/>
                    <a:pt x="2234" y="1630"/>
                  </a:cubicBezTo>
                  <a:cubicBezTo>
                    <a:pt x="2231" y="1632"/>
                    <a:pt x="2229" y="1633"/>
                    <a:pt x="2225" y="1634"/>
                  </a:cubicBezTo>
                  <a:cubicBezTo>
                    <a:pt x="2225" y="1634"/>
                    <a:pt x="2224" y="1635"/>
                    <a:pt x="2223" y="1635"/>
                  </a:cubicBezTo>
                  <a:cubicBezTo>
                    <a:pt x="2221" y="1635"/>
                    <a:pt x="2220" y="1635"/>
                    <a:pt x="2219" y="1636"/>
                  </a:cubicBezTo>
                  <a:cubicBezTo>
                    <a:pt x="2218" y="1636"/>
                    <a:pt x="2218" y="1636"/>
                    <a:pt x="2217" y="1636"/>
                  </a:cubicBezTo>
                  <a:cubicBezTo>
                    <a:pt x="2217" y="1636"/>
                    <a:pt x="2216" y="1636"/>
                    <a:pt x="2216" y="1636"/>
                  </a:cubicBezTo>
                  <a:cubicBezTo>
                    <a:pt x="2187" y="1639"/>
                    <a:pt x="2156" y="1636"/>
                    <a:pt x="2126" y="1637"/>
                  </a:cubicBezTo>
                  <a:cubicBezTo>
                    <a:pt x="2123" y="1637"/>
                    <a:pt x="2120" y="1636"/>
                    <a:pt x="2117" y="1636"/>
                  </a:cubicBezTo>
                  <a:cubicBezTo>
                    <a:pt x="2117" y="1636"/>
                    <a:pt x="2117" y="1636"/>
                    <a:pt x="2117" y="1636"/>
                  </a:cubicBezTo>
                  <a:cubicBezTo>
                    <a:pt x="2106" y="1635"/>
                    <a:pt x="2095" y="1631"/>
                    <a:pt x="2086" y="1625"/>
                  </a:cubicBezTo>
                  <a:cubicBezTo>
                    <a:pt x="2083" y="1624"/>
                    <a:pt x="2081" y="1622"/>
                    <a:pt x="2079" y="1621"/>
                  </a:cubicBezTo>
                  <a:close/>
                  <a:moveTo>
                    <a:pt x="2322" y="1782"/>
                  </a:moveTo>
                  <a:cubicBezTo>
                    <a:pt x="2322" y="1783"/>
                    <a:pt x="2321" y="1783"/>
                    <a:pt x="2321" y="1784"/>
                  </a:cubicBezTo>
                  <a:cubicBezTo>
                    <a:pt x="2321" y="1785"/>
                    <a:pt x="2321" y="1785"/>
                    <a:pt x="2321" y="1786"/>
                  </a:cubicBezTo>
                  <a:cubicBezTo>
                    <a:pt x="2320" y="1787"/>
                    <a:pt x="2320" y="1788"/>
                    <a:pt x="2319" y="1789"/>
                  </a:cubicBezTo>
                  <a:cubicBezTo>
                    <a:pt x="2319" y="1789"/>
                    <a:pt x="2319" y="1789"/>
                    <a:pt x="2319" y="1790"/>
                  </a:cubicBezTo>
                  <a:cubicBezTo>
                    <a:pt x="2318" y="1790"/>
                    <a:pt x="2318" y="1791"/>
                    <a:pt x="2317" y="1791"/>
                  </a:cubicBezTo>
                  <a:cubicBezTo>
                    <a:pt x="2317" y="1791"/>
                    <a:pt x="2317" y="1792"/>
                    <a:pt x="2316" y="1792"/>
                  </a:cubicBezTo>
                  <a:cubicBezTo>
                    <a:pt x="2316" y="1792"/>
                    <a:pt x="2316" y="1792"/>
                    <a:pt x="2316" y="1793"/>
                  </a:cubicBezTo>
                  <a:cubicBezTo>
                    <a:pt x="2310" y="1798"/>
                    <a:pt x="2303" y="1800"/>
                    <a:pt x="2296" y="1801"/>
                  </a:cubicBezTo>
                  <a:cubicBezTo>
                    <a:pt x="2296" y="1801"/>
                    <a:pt x="2295" y="1801"/>
                    <a:pt x="2295" y="1801"/>
                  </a:cubicBezTo>
                  <a:cubicBezTo>
                    <a:pt x="2292" y="1802"/>
                    <a:pt x="2289" y="1802"/>
                    <a:pt x="2286" y="1802"/>
                  </a:cubicBezTo>
                  <a:cubicBezTo>
                    <a:pt x="2286" y="1802"/>
                    <a:pt x="2286" y="1802"/>
                    <a:pt x="2286" y="1802"/>
                  </a:cubicBezTo>
                  <a:cubicBezTo>
                    <a:pt x="2283" y="1802"/>
                    <a:pt x="2283" y="1802"/>
                    <a:pt x="2283" y="1802"/>
                  </a:cubicBezTo>
                  <a:cubicBezTo>
                    <a:pt x="2280" y="1802"/>
                    <a:pt x="2277" y="1802"/>
                    <a:pt x="2275" y="1802"/>
                  </a:cubicBezTo>
                  <a:cubicBezTo>
                    <a:pt x="2193" y="1802"/>
                    <a:pt x="2193" y="1802"/>
                    <a:pt x="2193" y="1802"/>
                  </a:cubicBezTo>
                  <a:cubicBezTo>
                    <a:pt x="2190" y="1802"/>
                    <a:pt x="2187" y="1802"/>
                    <a:pt x="2184" y="1802"/>
                  </a:cubicBezTo>
                  <a:cubicBezTo>
                    <a:pt x="2183" y="1801"/>
                    <a:pt x="2182" y="1801"/>
                    <a:pt x="2181" y="1801"/>
                  </a:cubicBezTo>
                  <a:cubicBezTo>
                    <a:pt x="2164" y="1799"/>
                    <a:pt x="2144" y="1791"/>
                    <a:pt x="2135" y="1776"/>
                  </a:cubicBezTo>
                  <a:cubicBezTo>
                    <a:pt x="2133" y="1774"/>
                    <a:pt x="2132" y="1772"/>
                    <a:pt x="2131" y="1770"/>
                  </a:cubicBezTo>
                  <a:cubicBezTo>
                    <a:pt x="2131" y="1769"/>
                    <a:pt x="2131" y="1769"/>
                    <a:pt x="2131" y="1769"/>
                  </a:cubicBezTo>
                  <a:cubicBezTo>
                    <a:pt x="2131" y="1769"/>
                    <a:pt x="2131" y="1769"/>
                    <a:pt x="2131" y="1769"/>
                  </a:cubicBezTo>
                  <a:cubicBezTo>
                    <a:pt x="2127" y="1757"/>
                    <a:pt x="2122" y="1746"/>
                    <a:pt x="2118" y="1734"/>
                  </a:cubicBezTo>
                  <a:cubicBezTo>
                    <a:pt x="2116" y="1728"/>
                    <a:pt x="2112" y="1720"/>
                    <a:pt x="2110" y="1713"/>
                  </a:cubicBezTo>
                  <a:cubicBezTo>
                    <a:pt x="2110" y="1713"/>
                    <a:pt x="2110" y="1713"/>
                    <a:pt x="2110" y="1713"/>
                  </a:cubicBezTo>
                  <a:cubicBezTo>
                    <a:pt x="2110" y="1713"/>
                    <a:pt x="2110" y="1712"/>
                    <a:pt x="2110" y="1712"/>
                  </a:cubicBezTo>
                  <a:cubicBezTo>
                    <a:pt x="2110" y="1712"/>
                    <a:pt x="2109" y="1711"/>
                    <a:pt x="2109" y="1710"/>
                  </a:cubicBezTo>
                  <a:cubicBezTo>
                    <a:pt x="2109" y="1707"/>
                    <a:pt x="2109" y="1704"/>
                    <a:pt x="2109" y="1701"/>
                  </a:cubicBezTo>
                  <a:cubicBezTo>
                    <a:pt x="2110" y="1699"/>
                    <a:pt x="2111" y="1698"/>
                    <a:pt x="2112" y="1696"/>
                  </a:cubicBezTo>
                  <a:cubicBezTo>
                    <a:pt x="2112" y="1696"/>
                    <a:pt x="2112" y="1696"/>
                    <a:pt x="2112" y="1696"/>
                  </a:cubicBezTo>
                  <a:cubicBezTo>
                    <a:pt x="2117" y="1688"/>
                    <a:pt x="2126" y="1685"/>
                    <a:pt x="2136" y="1684"/>
                  </a:cubicBezTo>
                  <a:cubicBezTo>
                    <a:pt x="2136" y="1684"/>
                    <a:pt x="2136" y="1684"/>
                    <a:pt x="2137" y="1684"/>
                  </a:cubicBezTo>
                  <a:cubicBezTo>
                    <a:pt x="2139" y="1684"/>
                    <a:pt x="2141" y="1684"/>
                    <a:pt x="2144" y="1684"/>
                  </a:cubicBezTo>
                  <a:cubicBezTo>
                    <a:pt x="2144" y="1684"/>
                    <a:pt x="2145" y="1683"/>
                    <a:pt x="2145" y="1683"/>
                  </a:cubicBezTo>
                  <a:cubicBezTo>
                    <a:pt x="2151" y="1683"/>
                    <a:pt x="2151" y="1683"/>
                    <a:pt x="2151" y="1683"/>
                  </a:cubicBezTo>
                  <a:cubicBezTo>
                    <a:pt x="2152" y="1683"/>
                    <a:pt x="2153" y="1683"/>
                    <a:pt x="2155" y="1683"/>
                  </a:cubicBezTo>
                  <a:cubicBezTo>
                    <a:pt x="2180" y="1683"/>
                    <a:pt x="2205" y="1683"/>
                    <a:pt x="2231" y="1683"/>
                  </a:cubicBezTo>
                  <a:cubicBezTo>
                    <a:pt x="2231" y="1683"/>
                    <a:pt x="2231" y="1683"/>
                    <a:pt x="2231" y="1683"/>
                  </a:cubicBezTo>
                  <a:cubicBezTo>
                    <a:pt x="2231" y="1683"/>
                    <a:pt x="2231" y="1683"/>
                    <a:pt x="2231" y="1683"/>
                  </a:cubicBezTo>
                  <a:cubicBezTo>
                    <a:pt x="2234" y="1683"/>
                    <a:pt x="2237" y="1683"/>
                    <a:pt x="2240" y="1684"/>
                  </a:cubicBezTo>
                  <a:cubicBezTo>
                    <a:pt x="2240" y="1684"/>
                    <a:pt x="2241" y="1684"/>
                    <a:pt x="2241" y="1684"/>
                  </a:cubicBezTo>
                  <a:cubicBezTo>
                    <a:pt x="2258" y="1686"/>
                    <a:pt x="2277" y="1693"/>
                    <a:pt x="2287" y="1706"/>
                  </a:cubicBezTo>
                  <a:cubicBezTo>
                    <a:pt x="2289" y="1708"/>
                    <a:pt x="2290" y="1710"/>
                    <a:pt x="2291" y="1712"/>
                  </a:cubicBezTo>
                  <a:cubicBezTo>
                    <a:pt x="2294" y="1717"/>
                    <a:pt x="2294" y="1717"/>
                    <a:pt x="2294" y="1717"/>
                  </a:cubicBezTo>
                  <a:cubicBezTo>
                    <a:pt x="2299" y="1727"/>
                    <a:pt x="2304" y="1737"/>
                    <a:pt x="2309" y="1748"/>
                  </a:cubicBezTo>
                  <a:cubicBezTo>
                    <a:pt x="2312" y="1754"/>
                    <a:pt x="2318" y="1762"/>
                    <a:pt x="2320" y="1771"/>
                  </a:cubicBezTo>
                  <a:cubicBezTo>
                    <a:pt x="2322" y="1775"/>
                    <a:pt x="2323" y="1778"/>
                    <a:pt x="2322" y="1782"/>
                  </a:cubicBezTo>
                  <a:close/>
                  <a:moveTo>
                    <a:pt x="2340" y="1624"/>
                  </a:moveTo>
                  <a:cubicBezTo>
                    <a:pt x="2338" y="1622"/>
                    <a:pt x="2337" y="1621"/>
                    <a:pt x="2335" y="1620"/>
                  </a:cubicBezTo>
                  <a:cubicBezTo>
                    <a:pt x="2331" y="1617"/>
                    <a:pt x="2328" y="1613"/>
                    <a:pt x="2326" y="1610"/>
                  </a:cubicBezTo>
                  <a:cubicBezTo>
                    <a:pt x="2324" y="1607"/>
                    <a:pt x="2324" y="1607"/>
                    <a:pt x="2324" y="1607"/>
                  </a:cubicBezTo>
                  <a:cubicBezTo>
                    <a:pt x="2324" y="1607"/>
                    <a:pt x="2324" y="1607"/>
                    <a:pt x="2324" y="1607"/>
                  </a:cubicBezTo>
                  <a:cubicBezTo>
                    <a:pt x="2317" y="1594"/>
                    <a:pt x="2310" y="1582"/>
                    <a:pt x="2303" y="1569"/>
                  </a:cubicBezTo>
                  <a:cubicBezTo>
                    <a:pt x="2303" y="1569"/>
                    <a:pt x="2303" y="1569"/>
                    <a:pt x="2303" y="1569"/>
                  </a:cubicBezTo>
                  <a:cubicBezTo>
                    <a:pt x="2300" y="1564"/>
                    <a:pt x="2300" y="1564"/>
                    <a:pt x="2300" y="1564"/>
                  </a:cubicBezTo>
                  <a:cubicBezTo>
                    <a:pt x="2298" y="1561"/>
                    <a:pt x="2298" y="1558"/>
                    <a:pt x="2298" y="1555"/>
                  </a:cubicBezTo>
                  <a:cubicBezTo>
                    <a:pt x="2299" y="1552"/>
                    <a:pt x="2300" y="1550"/>
                    <a:pt x="2303" y="1547"/>
                  </a:cubicBezTo>
                  <a:cubicBezTo>
                    <a:pt x="2306" y="1545"/>
                    <a:pt x="2309" y="1544"/>
                    <a:pt x="2313" y="1542"/>
                  </a:cubicBezTo>
                  <a:cubicBezTo>
                    <a:pt x="2318" y="1541"/>
                    <a:pt x="2323" y="1541"/>
                    <a:pt x="2329" y="1541"/>
                  </a:cubicBezTo>
                  <a:cubicBezTo>
                    <a:pt x="2330" y="1541"/>
                    <a:pt x="2330" y="1541"/>
                    <a:pt x="2330" y="1541"/>
                  </a:cubicBezTo>
                  <a:cubicBezTo>
                    <a:pt x="2342" y="1540"/>
                    <a:pt x="2356" y="1540"/>
                    <a:pt x="2363" y="1540"/>
                  </a:cubicBezTo>
                  <a:cubicBezTo>
                    <a:pt x="2394" y="1540"/>
                    <a:pt x="2443" y="1534"/>
                    <a:pt x="2463" y="1564"/>
                  </a:cubicBezTo>
                  <a:cubicBezTo>
                    <a:pt x="2470" y="1573"/>
                    <a:pt x="2476" y="1583"/>
                    <a:pt x="2483" y="1593"/>
                  </a:cubicBezTo>
                  <a:cubicBezTo>
                    <a:pt x="2486" y="1598"/>
                    <a:pt x="2492" y="1605"/>
                    <a:pt x="2495" y="1611"/>
                  </a:cubicBezTo>
                  <a:cubicBezTo>
                    <a:pt x="2497" y="1614"/>
                    <a:pt x="2498" y="1617"/>
                    <a:pt x="2498" y="1620"/>
                  </a:cubicBezTo>
                  <a:cubicBezTo>
                    <a:pt x="2498" y="1621"/>
                    <a:pt x="2497" y="1623"/>
                    <a:pt x="2496" y="1625"/>
                  </a:cubicBezTo>
                  <a:cubicBezTo>
                    <a:pt x="2496" y="1626"/>
                    <a:pt x="2495" y="1627"/>
                    <a:pt x="2494" y="1628"/>
                  </a:cubicBezTo>
                  <a:cubicBezTo>
                    <a:pt x="2494" y="1628"/>
                    <a:pt x="2494" y="1628"/>
                    <a:pt x="2494" y="1628"/>
                  </a:cubicBezTo>
                  <a:cubicBezTo>
                    <a:pt x="2494" y="1628"/>
                    <a:pt x="2494" y="1628"/>
                    <a:pt x="2494" y="1628"/>
                  </a:cubicBezTo>
                  <a:cubicBezTo>
                    <a:pt x="2493" y="1629"/>
                    <a:pt x="2493" y="1629"/>
                    <a:pt x="2492" y="1630"/>
                  </a:cubicBezTo>
                  <a:cubicBezTo>
                    <a:pt x="2492" y="1630"/>
                    <a:pt x="2491" y="1630"/>
                    <a:pt x="2491" y="1630"/>
                  </a:cubicBezTo>
                  <a:cubicBezTo>
                    <a:pt x="2490" y="1631"/>
                    <a:pt x="2489" y="1631"/>
                    <a:pt x="2488" y="1632"/>
                  </a:cubicBezTo>
                  <a:cubicBezTo>
                    <a:pt x="2487" y="1632"/>
                    <a:pt x="2485" y="1633"/>
                    <a:pt x="2484" y="1633"/>
                  </a:cubicBezTo>
                  <a:cubicBezTo>
                    <a:pt x="2484" y="1633"/>
                    <a:pt x="2484" y="1634"/>
                    <a:pt x="2484" y="1634"/>
                  </a:cubicBezTo>
                  <a:cubicBezTo>
                    <a:pt x="2484" y="1634"/>
                    <a:pt x="2483" y="1634"/>
                    <a:pt x="2483" y="1634"/>
                  </a:cubicBezTo>
                  <a:cubicBezTo>
                    <a:pt x="2469" y="1638"/>
                    <a:pt x="2448" y="1636"/>
                    <a:pt x="2434" y="1636"/>
                  </a:cubicBezTo>
                  <a:cubicBezTo>
                    <a:pt x="2418" y="1636"/>
                    <a:pt x="2401" y="1636"/>
                    <a:pt x="2385" y="1636"/>
                  </a:cubicBezTo>
                  <a:cubicBezTo>
                    <a:pt x="2370" y="1636"/>
                    <a:pt x="2353" y="1632"/>
                    <a:pt x="2340" y="1624"/>
                  </a:cubicBezTo>
                  <a:close/>
                  <a:moveTo>
                    <a:pt x="2605" y="1791"/>
                  </a:moveTo>
                  <a:cubicBezTo>
                    <a:pt x="2605" y="1791"/>
                    <a:pt x="2605" y="1791"/>
                    <a:pt x="2604" y="1791"/>
                  </a:cubicBezTo>
                  <a:cubicBezTo>
                    <a:pt x="2602" y="1794"/>
                    <a:pt x="2598" y="1797"/>
                    <a:pt x="2593" y="1798"/>
                  </a:cubicBezTo>
                  <a:cubicBezTo>
                    <a:pt x="2589" y="1800"/>
                    <a:pt x="2583" y="1801"/>
                    <a:pt x="2576" y="1801"/>
                  </a:cubicBezTo>
                  <a:cubicBezTo>
                    <a:pt x="2569" y="1801"/>
                    <a:pt x="2569" y="1801"/>
                    <a:pt x="2569" y="1801"/>
                  </a:cubicBezTo>
                  <a:cubicBezTo>
                    <a:pt x="2569" y="1801"/>
                    <a:pt x="2569" y="1801"/>
                    <a:pt x="2569" y="1801"/>
                  </a:cubicBezTo>
                  <a:cubicBezTo>
                    <a:pt x="2541" y="1801"/>
                    <a:pt x="2512" y="1801"/>
                    <a:pt x="2483" y="1801"/>
                  </a:cubicBezTo>
                  <a:cubicBezTo>
                    <a:pt x="2480" y="1801"/>
                    <a:pt x="2476" y="1801"/>
                    <a:pt x="2473" y="1801"/>
                  </a:cubicBezTo>
                  <a:cubicBezTo>
                    <a:pt x="2473" y="1801"/>
                    <a:pt x="2473" y="1801"/>
                    <a:pt x="2473" y="1801"/>
                  </a:cubicBezTo>
                  <a:cubicBezTo>
                    <a:pt x="2453" y="1799"/>
                    <a:pt x="2432" y="1790"/>
                    <a:pt x="2419" y="1775"/>
                  </a:cubicBezTo>
                  <a:cubicBezTo>
                    <a:pt x="2418" y="1773"/>
                    <a:pt x="2416" y="1771"/>
                    <a:pt x="2415" y="1769"/>
                  </a:cubicBezTo>
                  <a:cubicBezTo>
                    <a:pt x="2415" y="1769"/>
                    <a:pt x="2415" y="1769"/>
                    <a:pt x="2415" y="1769"/>
                  </a:cubicBezTo>
                  <a:cubicBezTo>
                    <a:pt x="2415" y="1769"/>
                    <a:pt x="2415" y="1769"/>
                    <a:pt x="2415" y="1769"/>
                  </a:cubicBezTo>
                  <a:cubicBezTo>
                    <a:pt x="2409" y="1758"/>
                    <a:pt x="2402" y="1747"/>
                    <a:pt x="2396" y="1736"/>
                  </a:cubicBezTo>
                  <a:cubicBezTo>
                    <a:pt x="2392" y="1728"/>
                    <a:pt x="2383" y="1716"/>
                    <a:pt x="2381" y="1706"/>
                  </a:cubicBezTo>
                  <a:cubicBezTo>
                    <a:pt x="2381" y="1706"/>
                    <a:pt x="2381" y="1706"/>
                    <a:pt x="2381" y="1706"/>
                  </a:cubicBezTo>
                  <a:cubicBezTo>
                    <a:pt x="2380" y="1705"/>
                    <a:pt x="2380" y="1704"/>
                    <a:pt x="2380" y="1703"/>
                  </a:cubicBezTo>
                  <a:cubicBezTo>
                    <a:pt x="2379" y="1693"/>
                    <a:pt x="2387" y="1688"/>
                    <a:pt x="2396" y="1685"/>
                  </a:cubicBezTo>
                  <a:cubicBezTo>
                    <a:pt x="2396" y="1685"/>
                    <a:pt x="2396" y="1685"/>
                    <a:pt x="2396" y="1685"/>
                  </a:cubicBezTo>
                  <a:cubicBezTo>
                    <a:pt x="2396" y="1685"/>
                    <a:pt x="2397" y="1685"/>
                    <a:pt x="2397" y="1685"/>
                  </a:cubicBezTo>
                  <a:cubicBezTo>
                    <a:pt x="2398" y="1685"/>
                    <a:pt x="2398" y="1685"/>
                    <a:pt x="2399" y="1684"/>
                  </a:cubicBezTo>
                  <a:cubicBezTo>
                    <a:pt x="2403" y="1683"/>
                    <a:pt x="2408" y="1683"/>
                    <a:pt x="2413" y="1683"/>
                  </a:cubicBezTo>
                  <a:cubicBezTo>
                    <a:pt x="2470" y="1683"/>
                    <a:pt x="2470" y="1683"/>
                    <a:pt x="2470" y="1683"/>
                  </a:cubicBezTo>
                  <a:cubicBezTo>
                    <a:pt x="2479" y="1683"/>
                    <a:pt x="2489" y="1683"/>
                    <a:pt x="2498" y="1683"/>
                  </a:cubicBezTo>
                  <a:cubicBezTo>
                    <a:pt x="2498" y="1683"/>
                    <a:pt x="2498" y="1683"/>
                    <a:pt x="2498" y="1683"/>
                  </a:cubicBezTo>
                  <a:cubicBezTo>
                    <a:pt x="2499" y="1683"/>
                    <a:pt x="2499" y="1683"/>
                    <a:pt x="2500" y="1683"/>
                  </a:cubicBezTo>
                  <a:cubicBezTo>
                    <a:pt x="2502" y="1683"/>
                    <a:pt x="2505" y="1683"/>
                    <a:pt x="2507" y="1683"/>
                  </a:cubicBezTo>
                  <a:cubicBezTo>
                    <a:pt x="2508" y="1683"/>
                    <a:pt x="2508" y="1683"/>
                    <a:pt x="2509" y="1683"/>
                  </a:cubicBezTo>
                  <a:cubicBezTo>
                    <a:pt x="2527" y="1685"/>
                    <a:pt x="2546" y="1692"/>
                    <a:pt x="2558" y="1705"/>
                  </a:cubicBezTo>
                  <a:cubicBezTo>
                    <a:pt x="2559" y="1705"/>
                    <a:pt x="2560" y="1706"/>
                    <a:pt x="2561" y="1707"/>
                  </a:cubicBezTo>
                  <a:cubicBezTo>
                    <a:pt x="2561" y="1708"/>
                    <a:pt x="2562" y="1708"/>
                    <a:pt x="2562" y="1709"/>
                  </a:cubicBezTo>
                  <a:cubicBezTo>
                    <a:pt x="2563" y="1710"/>
                    <a:pt x="2563" y="1710"/>
                    <a:pt x="2564" y="1711"/>
                  </a:cubicBezTo>
                  <a:cubicBezTo>
                    <a:pt x="2564" y="1711"/>
                    <a:pt x="2564" y="1711"/>
                    <a:pt x="2564" y="1711"/>
                  </a:cubicBezTo>
                  <a:cubicBezTo>
                    <a:pt x="2566" y="1713"/>
                    <a:pt x="2566" y="1713"/>
                    <a:pt x="2566" y="1713"/>
                  </a:cubicBezTo>
                  <a:cubicBezTo>
                    <a:pt x="2571" y="1721"/>
                    <a:pt x="2576" y="1729"/>
                    <a:pt x="2582" y="1737"/>
                  </a:cubicBezTo>
                  <a:cubicBezTo>
                    <a:pt x="2582" y="1737"/>
                    <a:pt x="2582" y="1737"/>
                    <a:pt x="2582" y="1737"/>
                  </a:cubicBezTo>
                  <a:cubicBezTo>
                    <a:pt x="2589" y="1748"/>
                    <a:pt x="2599" y="1759"/>
                    <a:pt x="2605" y="1772"/>
                  </a:cubicBezTo>
                  <a:cubicBezTo>
                    <a:pt x="2606" y="1773"/>
                    <a:pt x="2606" y="1773"/>
                    <a:pt x="2606" y="1774"/>
                  </a:cubicBezTo>
                  <a:cubicBezTo>
                    <a:pt x="2607" y="1775"/>
                    <a:pt x="2607" y="1775"/>
                    <a:pt x="2607" y="1775"/>
                  </a:cubicBezTo>
                  <a:cubicBezTo>
                    <a:pt x="2609" y="1782"/>
                    <a:pt x="2608" y="1787"/>
                    <a:pt x="2605" y="1791"/>
                  </a:cubicBezTo>
                  <a:close/>
                  <a:moveTo>
                    <a:pt x="2937" y="318"/>
                  </a:moveTo>
                  <a:cubicBezTo>
                    <a:pt x="3034" y="414"/>
                    <a:pt x="3089" y="549"/>
                    <a:pt x="3089" y="685"/>
                  </a:cubicBezTo>
                  <a:cubicBezTo>
                    <a:pt x="3089" y="821"/>
                    <a:pt x="3034" y="955"/>
                    <a:pt x="2937" y="1051"/>
                  </a:cubicBezTo>
                  <a:cubicBezTo>
                    <a:pt x="3050" y="999"/>
                    <a:pt x="3153" y="855"/>
                    <a:pt x="3152" y="685"/>
                  </a:cubicBezTo>
                  <a:cubicBezTo>
                    <a:pt x="3153" y="514"/>
                    <a:pt x="3050" y="371"/>
                    <a:pt x="2937" y="318"/>
                  </a:cubicBezTo>
                  <a:close/>
                  <a:moveTo>
                    <a:pt x="216" y="318"/>
                  </a:moveTo>
                  <a:cubicBezTo>
                    <a:pt x="104" y="371"/>
                    <a:pt x="0" y="514"/>
                    <a:pt x="2" y="685"/>
                  </a:cubicBezTo>
                  <a:cubicBezTo>
                    <a:pt x="0" y="855"/>
                    <a:pt x="104" y="999"/>
                    <a:pt x="216" y="1051"/>
                  </a:cubicBezTo>
                  <a:cubicBezTo>
                    <a:pt x="120" y="955"/>
                    <a:pt x="64" y="821"/>
                    <a:pt x="65" y="685"/>
                  </a:cubicBezTo>
                  <a:cubicBezTo>
                    <a:pt x="64" y="549"/>
                    <a:pt x="120" y="414"/>
                    <a:pt x="216" y="318"/>
                  </a:cubicBezTo>
                  <a:close/>
                </a:path>
              </a:pathLst>
            </a:custGeom>
            <a:solidFill>
              <a:schemeClr val="bg1"/>
            </a:solidFill>
            <a:ln>
              <a:noFill/>
            </a:ln>
          </p:spPr>
          <p:txBody>
            <a:bodyPr vert="horz" wrap="square" lIns="0" tIns="40344" rIns="80687" bIns="40344" numCol="1" anchor="t" anchorCtr="0" compatLnSpc="1">
              <a:prstTxWarp prst="textNoShape">
                <a:avLst/>
              </a:prstTxWarp>
            </a:bodyPr>
            <a:lstStyle/>
            <a:p>
              <a:pPr algn="ctr" defTabSz="896350"/>
              <a:endParaRPr lang="en-US" sz="1568" dirty="0">
                <a:gradFill>
                  <a:gsLst>
                    <a:gs pos="0">
                      <a:srgbClr val="FFFFFF"/>
                    </a:gs>
                    <a:gs pos="100000">
                      <a:srgbClr val="FFFFFF"/>
                    </a:gs>
                  </a:gsLst>
                  <a:lin ang="5400000" scaled="0"/>
                </a:gradFill>
                <a:latin typeface="Segoe UI"/>
              </a:endParaRPr>
            </a:p>
          </p:txBody>
        </p:sp>
      </p:grpSp>
      <p:grpSp>
        <p:nvGrpSpPr>
          <p:cNvPr id="38" name="Group 37"/>
          <p:cNvGrpSpPr/>
          <p:nvPr/>
        </p:nvGrpSpPr>
        <p:grpSpPr>
          <a:xfrm>
            <a:off x="9302208" y="4698936"/>
            <a:ext cx="1487328" cy="1487329"/>
            <a:chOff x="9488736" y="4792662"/>
            <a:chExt cx="1517152" cy="1517153"/>
          </a:xfrm>
        </p:grpSpPr>
        <p:sp>
          <p:nvSpPr>
            <p:cNvPr id="102" name="Rectangle 101"/>
            <p:cNvSpPr/>
            <p:nvPr/>
          </p:nvSpPr>
          <p:spPr bwMode="auto">
            <a:xfrm>
              <a:off x="9488736" y="4792662"/>
              <a:ext cx="1517152" cy="151715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b" anchorCtr="0" forceAA="0" compatLnSpc="1">
              <a:prstTxWarp prst="textNoShape">
                <a:avLst/>
              </a:prstTxWarp>
              <a:noAutofit/>
            </a:bodyPr>
            <a:lstStyle/>
            <a:p>
              <a:pPr defTabSz="914102" fontAlgn="base">
                <a:lnSpc>
                  <a:spcPct val="90000"/>
                </a:lnSpc>
                <a:spcBef>
                  <a:spcPct val="0"/>
                </a:spcBef>
                <a:spcAft>
                  <a:spcPct val="0"/>
                </a:spcAft>
              </a:pPr>
              <a:r>
                <a:rPr lang="en-US" sz="1372" kern="0" dirty="0">
                  <a:solidFill>
                    <a:sysClr val="window" lastClr="FFFFFF"/>
                  </a:solidFill>
                  <a:latin typeface="Segoe UI"/>
                  <a:cs typeface="Segoe UI" pitchFamily="34" charset="0"/>
                </a:rPr>
                <a:t>Smart meter monitoring</a:t>
              </a:r>
            </a:p>
          </p:txBody>
        </p:sp>
        <p:grpSp>
          <p:nvGrpSpPr>
            <p:cNvPr id="153" name="Group 69"/>
            <p:cNvGrpSpPr>
              <a:grpSpLocks noChangeAspect="1"/>
            </p:cNvGrpSpPr>
            <p:nvPr/>
          </p:nvGrpSpPr>
          <p:grpSpPr bwMode="auto">
            <a:xfrm>
              <a:off x="9928615" y="5028815"/>
              <a:ext cx="684950" cy="624053"/>
              <a:chOff x="3229" y="1601"/>
              <a:chExt cx="1226" cy="1117"/>
            </a:xfrm>
            <a:solidFill>
              <a:schemeClr val="bg1"/>
            </a:solidFill>
          </p:grpSpPr>
          <p:sp>
            <p:nvSpPr>
              <p:cNvPr id="154" name="Freeform 70"/>
              <p:cNvSpPr>
                <a:spLocks/>
              </p:cNvSpPr>
              <p:nvPr/>
            </p:nvSpPr>
            <p:spPr bwMode="auto">
              <a:xfrm>
                <a:off x="3501" y="1837"/>
                <a:ext cx="161" cy="524"/>
              </a:xfrm>
              <a:custGeom>
                <a:avLst/>
                <a:gdLst>
                  <a:gd name="T0" fmla="*/ 52 w 68"/>
                  <a:gd name="T1" fmla="*/ 222 h 222"/>
                  <a:gd name="T2" fmla="*/ 68 w 68"/>
                  <a:gd name="T3" fmla="*/ 194 h 222"/>
                  <a:gd name="T4" fmla="*/ 32 w 68"/>
                  <a:gd name="T5" fmla="*/ 111 h 222"/>
                  <a:gd name="T6" fmla="*/ 68 w 68"/>
                  <a:gd name="T7" fmla="*/ 28 h 222"/>
                  <a:gd name="T8" fmla="*/ 51 w 68"/>
                  <a:gd name="T9" fmla="*/ 0 h 222"/>
                  <a:gd name="T10" fmla="*/ 0 w 68"/>
                  <a:gd name="T11" fmla="*/ 111 h 222"/>
                  <a:gd name="T12" fmla="*/ 52 w 68"/>
                  <a:gd name="T13" fmla="*/ 222 h 222"/>
                </a:gdLst>
                <a:ahLst/>
                <a:cxnLst>
                  <a:cxn ang="0">
                    <a:pos x="T0" y="T1"/>
                  </a:cxn>
                  <a:cxn ang="0">
                    <a:pos x="T2" y="T3"/>
                  </a:cxn>
                  <a:cxn ang="0">
                    <a:pos x="T4" y="T5"/>
                  </a:cxn>
                  <a:cxn ang="0">
                    <a:pos x="T6" y="T7"/>
                  </a:cxn>
                  <a:cxn ang="0">
                    <a:pos x="T8" y="T9"/>
                  </a:cxn>
                  <a:cxn ang="0">
                    <a:pos x="T10" y="T11"/>
                  </a:cxn>
                  <a:cxn ang="0">
                    <a:pos x="T12" y="T13"/>
                  </a:cxn>
                </a:cxnLst>
                <a:rect l="0" t="0" r="r" b="b"/>
                <a:pathLst>
                  <a:path w="68" h="222">
                    <a:moveTo>
                      <a:pt x="52" y="222"/>
                    </a:moveTo>
                    <a:cubicBezTo>
                      <a:pt x="68" y="194"/>
                      <a:pt x="68" y="194"/>
                      <a:pt x="68" y="194"/>
                    </a:cubicBezTo>
                    <a:cubicBezTo>
                      <a:pt x="46" y="173"/>
                      <a:pt x="32" y="144"/>
                      <a:pt x="32" y="111"/>
                    </a:cubicBezTo>
                    <a:cubicBezTo>
                      <a:pt x="32" y="78"/>
                      <a:pt x="46" y="49"/>
                      <a:pt x="68" y="28"/>
                    </a:cubicBezTo>
                    <a:cubicBezTo>
                      <a:pt x="51" y="0"/>
                      <a:pt x="51" y="0"/>
                      <a:pt x="51" y="0"/>
                    </a:cubicBezTo>
                    <a:cubicBezTo>
                      <a:pt x="20" y="27"/>
                      <a:pt x="0" y="66"/>
                      <a:pt x="0" y="111"/>
                    </a:cubicBezTo>
                    <a:cubicBezTo>
                      <a:pt x="0" y="156"/>
                      <a:pt x="20" y="196"/>
                      <a:pt x="52" y="222"/>
                    </a:cubicBezTo>
                    <a:close/>
                  </a:path>
                </a:pathLst>
              </a:custGeom>
              <a:grpFill/>
              <a:ln>
                <a:noFill/>
              </a:ln>
            </p:spPr>
            <p:txBody>
              <a:bodyPr vert="horz" wrap="square" lIns="89642" tIns="44821" rIns="89642" bIns="44821" numCol="1" anchor="t" anchorCtr="0" compatLnSpc="1">
                <a:prstTxWarp prst="textNoShape">
                  <a:avLst/>
                </a:prstTxWarp>
              </a:bodyPr>
              <a:lstStyle/>
              <a:p>
                <a:pPr defTabSz="896175"/>
                <a:endParaRPr lang="en-US" sz="1667" dirty="0">
                  <a:solidFill>
                    <a:srgbClr val="000000"/>
                  </a:solidFill>
                  <a:latin typeface="Segoe UI"/>
                </a:endParaRPr>
              </a:p>
            </p:txBody>
          </p:sp>
          <p:sp>
            <p:nvSpPr>
              <p:cNvPr id="155" name="Freeform 71"/>
              <p:cNvSpPr>
                <a:spLocks/>
              </p:cNvSpPr>
              <p:nvPr/>
            </p:nvSpPr>
            <p:spPr bwMode="auto">
              <a:xfrm>
                <a:off x="4023" y="1837"/>
                <a:ext cx="161" cy="524"/>
              </a:xfrm>
              <a:custGeom>
                <a:avLst/>
                <a:gdLst>
                  <a:gd name="T0" fmla="*/ 36 w 68"/>
                  <a:gd name="T1" fmla="*/ 111 h 222"/>
                  <a:gd name="T2" fmla="*/ 0 w 68"/>
                  <a:gd name="T3" fmla="*/ 194 h 222"/>
                  <a:gd name="T4" fmla="*/ 16 w 68"/>
                  <a:gd name="T5" fmla="*/ 222 h 222"/>
                  <a:gd name="T6" fmla="*/ 68 w 68"/>
                  <a:gd name="T7" fmla="*/ 111 h 222"/>
                  <a:gd name="T8" fmla="*/ 17 w 68"/>
                  <a:gd name="T9" fmla="*/ 0 h 222"/>
                  <a:gd name="T10" fmla="*/ 0 w 68"/>
                  <a:gd name="T11" fmla="*/ 28 h 222"/>
                  <a:gd name="T12" fmla="*/ 36 w 68"/>
                  <a:gd name="T13" fmla="*/ 111 h 222"/>
                </a:gdLst>
                <a:ahLst/>
                <a:cxnLst>
                  <a:cxn ang="0">
                    <a:pos x="T0" y="T1"/>
                  </a:cxn>
                  <a:cxn ang="0">
                    <a:pos x="T2" y="T3"/>
                  </a:cxn>
                  <a:cxn ang="0">
                    <a:pos x="T4" y="T5"/>
                  </a:cxn>
                  <a:cxn ang="0">
                    <a:pos x="T6" y="T7"/>
                  </a:cxn>
                  <a:cxn ang="0">
                    <a:pos x="T8" y="T9"/>
                  </a:cxn>
                  <a:cxn ang="0">
                    <a:pos x="T10" y="T11"/>
                  </a:cxn>
                  <a:cxn ang="0">
                    <a:pos x="T12" y="T13"/>
                  </a:cxn>
                </a:cxnLst>
                <a:rect l="0" t="0" r="r" b="b"/>
                <a:pathLst>
                  <a:path w="68" h="222">
                    <a:moveTo>
                      <a:pt x="36" y="111"/>
                    </a:moveTo>
                    <a:cubicBezTo>
                      <a:pt x="36" y="144"/>
                      <a:pt x="22" y="173"/>
                      <a:pt x="0" y="194"/>
                    </a:cubicBezTo>
                    <a:cubicBezTo>
                      <a:pt x="16" y="222"/>
                      <a:pt x="16" y="222"/>
                      <a:pt x="16" y="222"/>
                    </a:cubicBezTo>
                    <a:cubicBezTo>
                      <a:pt x="48" y="196"/>
                      <a:pt x="68" y="156"/>
                      <a:pt x="68" y="111"/>
                    </a:cubicBezTo>
                    <a:cubicBezTo>
                      <a:pt x="68" y="66"/>
                      <a:pt x="48" y="27"/>
                      <a:pt x="17" y="0"/>
                    </a:cubicBezTo>
                    <a:cubicBezTo>
                      <a:pt x="0" y="28"/>
                      <a:pt x="0" y="28"/>
                      <a:pt x="0" y="28"/>
                    </a:cubicBezTo>
                    <a:cubicBezTo>
                      <a:pt x="22" y="49"/>
                      <a:pt x="36" y="78"/>
                      <a:pt x="36" y="111"/>
                    </a:cubicBezTo>
                    <a:close/>
                  </a:path>
                </a:pathLst>
              </a:custGeom>
              <a:grpFill/>
              <a:ln>
                <a:noFill/>
              </a:ln>
            </p:spPr>
            <p:txBody>
              <a:bodyPr vert="horz" wrap="square" lIns="89642" tIns="44821" rIns="89642" bIns="44821" numCol="1" anchor="t" anchorCtr="0" compatLnSpc="1">
                <a:prstTxWarp prst="textNoShape">
                  <a:avLst/>
                </a:prstTxWarp>
              </a:bodyPr>
              <a:lstStyle/>
              <a:p>
                <a:pPr defTabSz="896175"/>
                <a:endParaRPr lang="en-US" sz="1667" dirty="0">
                  <a:solidFill>
                    <a:srgbClr val="000000"/>
                  </a:solidFill>
                  <a:latin typeface="Segoe UI"/>
                </a:endParaRPr>
              </a:p>
            </p:txBody>
          </p:sp>
          <p:sp>
            <p:nvSpPr>
              <p:cNvPr id="156" name="Freeform 72"/>
              <p:cNvSpPr>
                <a:spLocks/>
              </p:cNvSpPr>
              <p:nvPr/>
            </p:nvSpPr>
            <p:spPr bwMode="auto">
              <a:xfrm>
                <a:off x="4092" y="1719"/>
                <a:ext cx="229" cy="761"/>
              </a:xfrm>
              <a:custGeom>
                <a:avLst/>
                <a:gdLst>
                  <a:gd name="T0" fmla="*/ 65 w 97"/>
                  <a:gd name="T1" fmla="*/ 161 h 322"/>
                  <a:gd name="T2" fmla="*/ 0 w 97"/>
                  <a:gd name="T3" fmla="*/ 294 h 322"/>
                  <a:gd name="T4" fmla="*/ 16 w 97"/>
                  <a:gd name="T5" fmla="*/ 322 h 322"/>
                  <a:gd name="T6" fmla="*/ 97 w 97"/>
                  <a:gd name="T7" fmla="*/ 161 h 322"/>
                  <a:gd name="T8" fmla="*/ 17 w 97"/>
                  <a:gd name="T9" fmla="*/ 0 h 322"/>
                  <a:gd name="T10" fmla="*/ 0 w 97"/>
                  <a:gd name="T11" fmla="*/ 28 h 322"/>
                  <a:gd name="T12" fmla="*/ 65 w 97"/>
                  <a:gd name="T13" fmla="*/ 161 h 322"/>
                </a:gdLst>
                <a:ahLst/>
                <a:cxnLst>
                  <a:cxn ang="0">
                    <a:pos x="T0" y="T1"/>
                  </a:cxn>
                  <a:cxn ang="0">
                    <a:pos x="T2" y="T3"/>
                  </a:cxn>
                  <a:cxn ang="0">
                    <a:pos x="T4" y="T5"/>
                  </a:cxn>
                  <a:cxn ang="0">
                    <a:pos x="T6" y="T7"/>
                  </a:cxn>
                  <a:cxn ang="0">
                    <a:pos x="T8" y="T9"/>
                  </a:cxn>
                  <a:cxn ang="0">
                    <a:pos x="T10" y="T11"/>
                  </a:cxn>
                  <a:cxn ang="0">
                    <a:pos x="T12" y="T13"/>
                  </a:cxn>
                </a:cxnLst>
                <a:rect l="0" t="0" r="r" b="b"/>
                <a:pathLst>
                  <a:path w="97" h="322">
                    <a:moveTo>
                      <a:pt x="65" y="161"/>
                    </a:moveTo>
                    <a:cubicBezTo>
                      <a:pt x="65" y="215"/>
                      <a:pt x="39" y="263"/>
                      <a:pt x="0" y="294"/>
                    </a:cubicBezTo>
                    <a:cubicBezTo>
                      <a:pt x="16" y="322"/>
                      <a:pt x="16" y="322"/>
                      <a:pt x="16" y="322"/>
                    </a:cubicBezTo>
                    <a:cubicBezTo>
                      <a:pt x="65" y="285"/>
                      <a:pt x="97" y="227"/>
                      <a:pt x="97" y="161"/>
                    </a:cubicBezTo>
                    <a:cubicBezTo>
                      <a:pt x="97" y="95"/>
                      <a:pt x="65" y="37"/>
                      <a:pt x="17" y="0"/>
                    </a:cubicBezTo>
                    <a:cubicBezTo>
                      <a:pt x="0" y="28"/>
                      <a:pt x="0" y="28"/>
                      <a:pt x="0" y="28"/>
                    </a:cubicBezTo>
                    <a:cubicBezTo>
                      <a:pt x="39" y="59"/>
                      <a:pt x="65" y="107"/>
                      <a:pt x="65" y="161"/>
                    </a:cubicBezTo>
                    <a:close/>
                  </a:path>
                </a:pathLst>
              </a:custGeom>
              <a:grpFill/>
              <a:ln>
                <a:noFill/>
              </a:ln>
            </p:spPr>
            <p:txBody>
              <a:bodyPr vert="horz" wrap="square" lIns="89642" tIns="44821" rIns="89642" bIns="44821" numCol="1" anchor="t" anchorCtr="0" compatLnSpc="1">
                <a:prstTxWarp prst="textNoShape">
                  <a:avLst/>
                </a:prstTxWarp>
              </a:bodyPr>
              <a:lstStyle/>
              <a:p>
                <a:pPr defTabSz="896175"/>
                <a:endParaRPr lang="en-US" sz="1667" dirty="0">
                  <a:solidFill>
                    <a:srgbClr val="000000"/>
                  </a:solidFill>
                  <a:latin typeface="Segoe UI"/>
                </a:endParaRPr>
              </a:p>
            </p:txBody>
          </p:sp>
          <p:sp>
            <p:nvSpPr>
              <p:cNvPr id="157" name="Freeform 73"/>
              <p:cNvSpPr>
                <a:spLocks/>
              </p:cNvSpPr>
              <p:nvPr/>
            </p:nvSpPr>
            <p:spPr bwMode="auto">
              <a:xfrm>
                <a:off x="3364" y="1719"/>
                <a:ext cx="229" cy="761"/>
              </a:xfrm>
              <a:custGeom>
                <a:avLst/>
                <a:gdLst>
                  <a:gd name="T0" fmla="*/ 0 w 97"/>
                  <a:gd name="T1" fmla="*/ 161 h 322"/>
                  <a:gd name="T2" fmla="*/ 81 w 97"/>
                  <a:gd name="T3" fmla="*/ 322 h 322"/>
                  <a:gd name="T4" fmla="*/ 97 w 97"/>
                  <a:gd name="T5" fmla="*/ 294 h 322"/>
                  <a:gd name="T6" fmla="*/ 32 w 97"/>
                  <a:gd name="T7" fmla="*/ 161 h 322"/>
                  <a:gd name="T8" fmla="*/ 97 w 97"/>
                  <a:gd name="T9" fmla="*/ 28 h 322"/>
                  <a:gd name="T10" fmla="*/ 80 w 97"/>
                  <a:gd name="T11" fmla="*/ 0 h 322"/>
                  <a:gd name="T12" fmla="*/ 0 w 97"/>
                  <a:gd name="T13" fmla="*/ 161 h 322"/>
                </a:gdLst>
                <a:ahLst/>
                <a:cxnLst>
                  <a:cxn ang="0">
                    <a:pos x="T0" y="T1"/>
                  </a:cxn>
                  <a:cxn ang="0">
                    <a:pos x="T2" y="T3"/>
                  </a:cxn>
                  <a:cxn ang="0">
                    <a:pos x="T4" y="T5"/>
                  </a:cxn>
                  <a:cxn ang="0">
                    <a:pos x="T6" y="T7"/>
                  </a:cxn>
                  <a:cxn ang="0">
                    <a:pos x="T8" y="T9"/>
                  </a:cxn>
                  <a:cxn ang="0">
                    <a:pos x="T10" y="T11"/>
                  </a:cxn>
                  <a:cxn ang="0">
                    <a:pos x="T12" y="T13"/>
                  </a:cxn>
                </a:cxnLst>
                <a:rect l="0" t="0" r="r" b="b"/>
                <a:pathLst>
                  <a:path w="97" h="322">
                    <a:moveTo>
                      <a:pt x="0" y="161"/>
                    </a:moveTo>
                    <a:cubicBezTo>
                      <a:pt x="0" y="227"/>
                      <a:pt x="32" y="285"/>
                      <a:pt x="81" y="322"/>
                    </a:cubicBezTo>
                    <a:cubicBezTo>
                      <a:pt x="97" y="294"/>
                      <a:pt x="97" y="294"/>
                      <a:pt x="97" y="294"/>
                    </a:cubicBezTo>
                    <a:cubicBezTo>
                      <a:pt x="58" y="263"/>
                      <a:pt x="32" y="215"/>
                      <a:pt x="32" y="161"/>
                    </a:cubicBezTo>
                    <a:cubicBezTo>
                      <a:pt x="32" y="107"/>
                      <a:pt x="58" y="59"/>
                      <a:pt x="97" y="28"/>
                    </a:cubicBezTo>
                    <a:cubicBezTo>
                      <a:pt x="80" y="0"/>
                      <a:pt x="80" y="0"/>
                      <a:pt x="80" y="0"/>
                    </a:cubicBezTo>
                    <a:cubicBezTo>
                      <a:pt x="32" y="37"/>
                      <a:pt x="0" y="95"/>
                      <a:pt x="0" y="161"/>
                    </a:cubicBezTo>
                    <a:close/>
                  </a:path>
                </a:pathLst>
              </a:custGeom>
              <a:grpFill/>
              <a:ln>
                <a:noFill/>
              </a:ln>
            </p:spPr>
            <p:txBody>
              <a:bodyPr vert="horz" wrap="square" lIns="89642" tIns="44821" rIns="89642" bIns="44821" numCol="1" anchor="t" anchorCtr="0" compatLnSpc="1">
                <a:prstTxWarp prst="textNoShape">
                  <a:avLst/>
                </a:prstTxWarp>
              </a:bodyPr>
              <a:lstStyle/>
              <a:p>
                <a:pPr defTabSz="896175"/>
                <a:endParaRPr lang="en-US" sz="1667" dirty="0">
                  <a:solidFill>
                    <a:srgbClr val="000000"/>
                  </a:solidFill>
                  <a:latin typeface="Segoe UI"/>
                </a:endParaRPr>
              </a:p>
            </p:txBody>
          </p:sp>
          <p:sp>
            <p:nvSpPr>
              <p:cNvPr id="158" name="Freeform 74"/>
              <p:cNvSpPr>
                <a:spLocks/>
              </p:cNvSpPr>
              <p:nvPr/>
            </p:nvSpPr>
            <p:spPr bwMode="auto">
              <a:xfrm>
                <a:off x="4160" y="1601"/>
                <a:ext cx="295" cy="997"/>
              </a:xfrm>
              <a:custGeom>
                <a:avLst/>
                <a:gdLst>
                  <a:gd name="T0" fmla="*/ 16 w 125"/>
                  <a:gd name="T1" fmla="*/ 0 h 422"/>
                  <a:gd name="T2" fmla="*/ 0 w 125"/>
                  <a:gd name="T3" fmla="*/ 28 h 422"/>
                  <a:gd name="T4" fmla="*/ 93 w 125"/>
                  <a:gd name="T5" fmla="*/ 211 h 422"/>
                  <a:gd name="T6" fmla="*/ 0 w 125"/>
                  <a:gd name="T7" fmla="*/ 394 h 422"/>
                  <a:gd name="T8" fmla="*/ 16 w 125"/>
                  <a:gd name="T9" fmla="*/ 422 h 422"/>
                  <a:gd name="T10" fmla="*/ 125 w 125"/>
                  <a:gd name="T11" fmla="*/ 211 h 422"/>
                  <a:gd name="T12" fmla="*/ 16 w 125"/>
                  <a:gd name="T13" fmla="*/ 0 h 422"/>
                </a:gdLst>
                <a:ahLst/>
                <a:cxnLst>
                  <a:cxn ang="0">
                    <a:pos x="T0" y="T1"/>
                  </a:cxn>
                  <a:cxn ang="0">
                    <a:pos x="T2" y="T3"/>
                  </a:cxn>
                  <a:cxn ang="0">
                    <a:pos x="T4" y="T5"/>
                  </a:cxn>
                  <a:cxn ang="0">
                    <a:pos x="T6" y="T7"/>
                  </a:cxn>
                  <a:cxn ang="0">
                    <a:pos x="T8" y="T9"/>
                  </a:cxn>
                  <a:cxn ang="0">
                    <a:pos x="T10" y="T11"/>
                  </a:cxn>
                  <a:cxn ang="0">
                    <a:pos x="T12" y="T13"/>
                  </a:cxn>
                </a:cxnLst>
                <a:rect l="0" t="0" r="r" b="b"/>
                <a:pathLst>
                  <a:path w="125" h="422">
                    <a:moveTo>
                      <a:pt x="16" y="0"/>
                    </a:moveTo>
                    <a:cubicBezTo>
                      <a:pt x="0" y="28"/>
                      <a:pt x="0" y="28"/>
                      <a:pt x="0" y="28"/>
                    </a:cubicBezTo>
                    <a:cubicBezTo>
                      <a:pt x="57" y="69"/>
                      <a:pt x="93" y="136"/>
                      <a:pt x="93" y="211"/>
                    </a:cubicBezTo>
                    <a:cubicBezTo>
                      <a:pt x="93" y="286"/>
                      <a:pt x="56" y="353"/>
                      <a:pt x="0" y="394"/>
                    </a:cubicBezTo>
                    <a:cubicBezTo>
                      <a:pt x="16" y="422"/>
                      <a:pt x="16" y="422"/>
                      <a:pt x="16" y="422"/>
                    </a:cubicBezTo>
                    <a:cubicBezTo>
                      <a:pt x="82" y="375"/>
                      <a:pt x="125" y="298"/>
                      <a:pt x="125" y="211"/>
                    </a:cubicBezTo>
                    <a:cubicBezTo>
                      <a:pt x="125" y="124"/>
                      <a:pt x="82" y="47"/>
                      <a:pt x="16" y="0"/>
                    </a:cubicBezTo>
                    <a:close/>
                  </a:path>
                </a:pathLst>
              </a:custGeom>
              <a:grpFill/>
              <a:ln>
                <a:noFill/>
              </a:ln>
            </p:spPr>
            <p:txBody>
              <a:bodyPr vert="horz" wrap="square" lIns="89642" tIns="44821" rIns="89642" bIns="44821" numCol="1" anchor="t" anchorCtr="0" compatLnSpc="1">
                <a:prstTxWarp prst="textNoShape">
                  <a:avLst/>
                </a:prstTxWarp>
              </a:bodyPr>
              <a:lstStyle/>
              <a:p>
                <a:pPr defTabSz="896175"/>
                <a:endParaRPr lang="en-US" sz="1667" dirty="0">
                  <a:solidFill>
                    <a:srgbClr val="000000"/>
                  </a:solidFill>
                  <a:latin typeface="Segoe UI"/>
                </a:endParaRPr>
              </a:p>
            </p:txBody>
          </p:sp>
          <p:sp>
            <p:nvSpPr>
              <p:cNvPr id="159" name="Freeform 75"/>
              <p:cNvSpPr>
                <a:spLocks/>
              </p:cNvSpPr>
              <p:nvPr/>
            </p:nvSpPr>
            <p:spPr bwMode="auto">
              <a:xfrm>
                <a:off x="3229" y="1601"/>
                <a:ext cx="296" cy="997"/>
              </a:xfrm>
              <a:custGeom>
                <a:avLst/>
                <a:gdLst>
                  <a:gd name="T0" fmla="*/ 125 w 125"/>
                  <a:gd name="T1" fmla="*/ 394 h 422"/>
                  <a:gd name="T2" fmla="*/ 32 w 125"/>
                  <a:gd name="T3" fmla="*/ 211 h 422"/>
                  <a:gd name="T4" fmla="*/ 125 w 125"/>
                  <a:gd name="T5" fmla="*/ 28 h 422"/>
                  <a:gd name="T6" fmla="*/ 108 w 125"/>
                  <a:gd name="T7" fmla="*/ 0 h 422"/>
                  <a:gd name="T8" fmla="*/ 0 w 125"/>
                  <a:gd name="T9" fmla="*/ 211 h 422"/>
                  <a:gd name="T10" fmla="*/ 109 w 125"/>
                  <a:gd name="T11" fmla="*/ 422 h 422"/>
                  <a:gd name="T12" fmla="*/ 125 w 125"/>
                  <a:gd name="T13" fmla="*/ 394 h 422"/>
                </a:gdLst>
                <a:ahLst/>
                <a:cxnLst>
                  <a:cxn ang="0">
                    <a:pos x="T0" y="T1"/>
                  </a:cxn>
                  <a:cxn ang="0">
                    <a:pos x="T2" y="T3"/>
                  </a:cxn>
                  <a:cxn ang="0">
                    <a:pos x="T4" y="T5"/>
                  </a:cxn>
                  <a:cxn ang="0">
                    <a:pos x="T6" y="T7"/>
                  </a:cxn>
                  <a:cxn ang="0">
                    <a:pos x="T8" y="T9"/>
                  </a:cxn>
                  <a:cxn ang="0">
                    <a:pos x="T10" y="T11"/>
                  </a:cxn>
                  <a:cxn ang="0">
                    <a:pos x="T12" y="T13"/>
                  </a:cxn>
                </a:cxnLst>
                <a:rect l="0" t="0" r="r" b="b"/>
                <a:pathLst>
                  <a:path w="125" h="422">
                    <a:moveTo>
                      <a:pt x="125" y="394"/>
                    </a:moveTo>
                    <a:cubicBezTo>
                      <a:pt x="69" y="353"/>
                      <a:pt x="32" y="286"/>
                      <a:pt x="32" y="211"/>
                    </a:cubicBezTo>
                    <a:cubicBezTo>
                      <a:pt x="32" y="136"/>
                      <a:pt x="68" y="69"/>
                      <a:pt x="125" y="28"/>
                    </a:cubicBezTo>
                    <a:cubicBezTo>
                      <a:pt x="108" y="0"/>
                      <a:pt x="108" y="0"/>
                      <a:pt x="108" y="0"/>
                    </a:cubicBezTo>
                    <a:cubicBezTo>
                      <a:pt x="43" y="47"/>
                      <a:pt x="0" y="124"/>
                      <a:pt x="0" y="211"/>
                    </a:cubicBezTo>
                    <a:cubicBezTo>
                      <a:pt x="0" y="298"/>
                      <a:pt x="43" y="375"/>
                      <a:pt x="109" y="422"/>
                    </a:cubicBezTo>
                    <a:lnTo>
                      <a:pt x="125" y="394"/>
                    </a:lnTo>
                    <a:close/>
                  </a:path>
                </a:pathLst>
              </a:custGeom>
              <a:grpFill/>
              <a:ln>
                <a:noFill/>
              </a:ln>
            </p:spPr>
            <p:txBody>
              <a:bodyPr vert="horz" wrap="square" lIns="89642" tIns="44821" rIns="89642" bIns="44821" numCol="1" anchor="t" anchorCtr="0" compatLnSpc="1">
                <a:prstTxWarp prst="textNoShape">
                  <a:avLst/>
                </a:prstTxWarp>
              </a:bodyPr>
              <a:lstStyle/>
              <a:p>
                <a:pPr defTabSz="896175"/>
                <a:endParaRPr lang="en-US" sz="1667" dirty="0">
                  <a:solidFill>
                    <a:srgbClr val="000000"/>
                  </a:solidFill>
                  <a:latin typeface="Segoe UI"/>
                </a:endParaRPr>
              </a:p>
            </p:txBody>
          </p:sp>
          <p:sp>
            <p:nvSpPr>
              <p:cNvPr id="160" name="Freeform 76"/>
              <p:cNvSpPr>
                <a:spLocks/>
              </p:cNvSpPr>
              <p:nvPr/>
            </p:nvSpPr>
            <p:spPr bwMode="auto">
              <a:xfrm>
                <a:off x="3723" y="1979"/>
                <a:ext cx="239" cy="739"/>
              </a:xfrm>
              <a:custGeom>
                <a:avLst/>
                <a:gdLst>
                  <a:gd name="T0" fmla="*/ 101 w 101"/>
                  <a:gd name="T1" fmla="*/ 51 h 313"/>
                  <a:gd name="T2" fmla="*/ 50 w 101"/>
                  <a:gd name="T3" fmla="*/ 0 h 313"/>
                  <a:gd name="T4" fmla="*/ 0 w 101"/>
                  <a:gd name="T5" fmla="*/ 51 h 313"/>
                  <a:gd name="T6" fmla="*/ 39 w 101"/>
                  <a:gd name="T7" fmla="*/ 100 h 313"/>
                  <a:gd name="T8" fmla="*/ 16 w 101"/>
                  <a:gd name="T9" fmla="*/ 273 h 313"/>
                  <a:gd name="T10" fmla="*/ 50 w 101"/>
                  <a:gd name="T11" fmla="*/ 313 h 313"/>
                  <a:gd name="T12" fmla="*/ 51 w 101"/>
                  <a:gd name="T13" fmla="*/ 313 h 313"/>
                  <a:gd name="T14" fmla="*/ 85 w 101"/>
                  <a:gd name="T15" fmla="*/ 273 h 313"/>
                  <a:gd name="T16" fmla="*/ 62 w 101"/>
                  <a:gd name="T17" fmla="*/ 100 h 313"/>
                  <a:gd name="T18" fmla="*/ 101 w 101"/>
                  <a:gd name="T19" fmla="*/ 51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313">
                    <a:moveTo>
                      <a:pt x="101" y="51"/>
                    </a:moveTo>
                    <a:cubicBezTo>
                      <a:pt x="101" y="23"/>
                      <a:pt x="78" y="0"/>
                      <a:pt x="50" y="0"/>
                    </a:cubicBezTo>
                    <a:cubicBezTo>
                      <a:pt x="23" y="0"/>
                      <a:pt x="0" y="23"/>
                      <a:pt x="0" y="51"/>
                    </a:cubicBezTo>
                    <a:cubicBezTo>
                      <a:pt x="0" y="75"/>
                      <a:pt x="16" y="95"/>
                      <a:pt x="39" y="100"/>
                    </a:cubicBezTo>
                    <a:cubicBezTo>
                      <a:pt x="16" y="273"/>
                      <a:pt x="16" y="273"/>
                      <a:pt x="16" y="273"/>
                    </a:cubicBezTo>
                    <a:cubicBezTo>
                      <a:pt x="13" y="295"/>
                      <a:pt x="28" y="313"/>
                      <a:pt x="50" y="313"/>
                    </a:cubicBezTo>
                    <a:cubicBezTo>
                      <a:pt x="51" y="313"/>
                      <a:pt x="51" y="313"/>
                      <a:pt x="51" y="313"/>
                    </a:cubicBezTo>
                    <a:cubicBezTo>
                      <a:pt x="73" y="313"/>
                      <a:pt x="88" y="295"/>
                      <a:pt x="85" y="273"/>
                    </a:cubicBezTo>
                    <a:cubicBezTo>
                      <a:pt x="62" y="100"/>
                      <a:pt x="62" y="100"/>
                      <a:pt x="62" y="100"/>
                    </a:cubicBezTo>
                    <a:cubicBezTo>
                      <a:pt x="85" y="95"/>
                      <a:pt x="101" y="75"/>
                      <a:pt x="101" y="51"/>
                    </a:cubicBezTo>
                    <a:close/>
                  </a:path>
                </a:pathLst>
              </a:custGeom>
              <a:grpFill/>
              <a:ln>
                <a:noFill/>
              </a:ln>
            </p:spPr>
            <p:txBody>
              <a:bodyPr vert="horz" wrap="square" lIns="89642" tIns="44821" rIns="89642" bIns="44821" numCol="1" anchor="t" anchorCtr="0" compatLnSpc="1">
                <a:prstTxWarp prst="textNoShape">
                  <a:avLst/>
                </a:prstTxWarp>
              </a:bodyPr>
              <a:lstStyle/>
              <a:p>
                <a:pPr defTabSz="896175"/>
                <a:endParaRPr lang="en-US" sz="1667" dirty="0">
                  <a:solidFill>
                    <a:srgbClr val="000000"/>
                  </a:solidFill>
                  <a:latin typeface="Segoe UI"/>
                </a:endParaRPr>
              </a:p>
            </p:txBody>
          </p:sp>
        </p:grpSp>
      </p:grpSp>
      <p:grpSp>
        <p:nvGrpSpPr>
          <p:cNvPr id="30" name="Group 29"/>
          <p:cNvGrpSpPr/>
          <p:nvPr/>
        </p:nvGrpSpPr>
        <p:grpSpPr>
          <a:xfrm>
            <a:off x="7722259" y="4698935"/>
            <a:ext cx="1487328" cy="1489571"/>
            <a:chOff x="7877106" y="4792662"/>
            <a:chExt cx="1517152" cy="1519440"/>
          </a:xfrm>
        </p:grpSpPr>
        <p:sp>
          <p:nvSpPr>
            <p:cNvPr id="101" name="Rectangle 100"/>
            <p:cNvSpPr/>
            <p:nvPr/>
          </p:nvSpPr>
          <p:spPr bwMode="auto">
            <a:xfrm>
              <a:off x="7877106" y="4792662"/>
              <a:ext cx="1517152" cy="1517153"/>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171459" y="5094740"/>
              <a:ext cx="890298" cy="1217362"/>
            </a:xfrm>
            <a:prstGeom prst="rect">
              <a:avLst/>
            </a:prstGeom>
          </p:spPr>
        </p:pic>
      </p:grpSp>
      <p:grpSp>
        <p:nvGrpSpPr>
          <p:cNvPr id="11" name="Group 10"/>
          <p:cNvGrpSpPr/>
          <p:nvPr/>
        </p:nvGrpSpPr>
        <p:grpSpPr>
          <a:xfrm>
            <a:off x="1402464" y="1561449"/>
            <a:ext cx="1487328" cy="1487329"/>
            <a:chOff x="1430586" y="1592262"/>
            <a:chExt cx="1517152" cy="1517153"/>
          </a:xfrm>
        </p:grpSpPr>
        <p:sp>
          <p:nvSpPr>
            <p:cNvPr id="4" name="Rectangle 3"/>
            <p:cNvSpPr/>
            <p:nvPr/>
          </p:nvSpPr>
          <p:spPr bwMode="auto">
            <a:xfrm>
              <a:off x="1430586" y="1592262"/>
              <a:ext cx="1517152" cy="1517153"/>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 name="Picture 7"/>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1598336" y="1706083"/>
              <a:ext cx="1052707" cy="1306876"/>
            </a:xfrm>
            <a:prstGeom prst="rect">
              <a:avLst/>
            </a:prstGeom>
          </p:spPr>
        </p:pic>
      </p:grpSp>
      <p:grpSp>
        <p:nvGrpSpPr>
          <p:cNvPr id="22" name="Group 21"/>
          <p:cNvGrpSpPr/>
          <p:nvPr/>
        </p:nvGrpSpPr>
        <p:grpSpPr>
          <a:xfrm>
            <a:off x="2982413" y="3130192"/>
            <a:ext cx="1487328" cy="1487329"/>
            <a:chOff x="3042216" y="3192462"/>
            <a:chExt cx="1517152" cy="1517153"/>
          </a:xfrm>
        </p:grpSpPr>
        <p:sp>
          <p:nvSpPr>
            <p:cNvPr id="88" name="Rectangle 87"/>
            <p:cNvSpPr/>
            <p:nvPr/>
          </p:nvSpPr>
          <p:spPr bwMode="auto">
            <a:xfrm>
              <a:off x="3042216" y="3192462"/>
              <a:ext cx="1517152" cy="1517153"/>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9" name="Picture 8"/>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3284585" y="3256811"/>
              <a:ext cx="1019939" cy="1452804"/>
            </a:xfrm>
            <a:prstGeom prst="rect">
              <a:avLst/>
            </a:prstGeom>
          </p:spPr>
        </p:pic>
      </p:grpSp>
      <p:grpSp>
        <p:nvGrpSpPr>
          <p:cNvPr id="18" name="Group 17"/>
          <p:cNvGrpSpPr/>
          <p:nvPr/>
        </p:nvGrpSpPr>
        <p:grpSpPr>
          <a:xfrm>
            <a:off x="9302208" y="3130192"/>
            <a:ext cx="1487328" cy="1487329"/>
            <a:chOff x="9488736" y="3192462"/>
            <a:chExt cx="1517152" cy="1517153"/>
          </a:xfrm>
        </p:grpSpPr>
        <p:sp>
          <p:nvSpPr>
            <p:cNvPr id="96" name="Rectangle 95"/>
            <p:cNvSpPr/>
            <p:nvPr/>
          </p:nvSpPr>
          <p:spPr bwMode="auto">
            <a:xfrm>
              <a:off x="9488736" y="3192462"/>
              <a:ext cx="1517152" cy="1517153"/>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0" name="Picture 9"/>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9750996" y="3280861"/>
              <a:ext cx="992631" cy="1327799"/>
            </a:xfrm>
            <a:prstGeom prst="rect">
              <a:avLst/>
            </a:prstGeom>
          </p:spPr>
        </p:pic>
      </p:grpSp>
    </p:spTree>
    <p:extLst>
      <p:ext uri="{BB962C8B-B14F-4D97-AF65-F5344CB8AC3E}">
        <p14:creationId xmlns:p14="http://schemas.microsoft.com/office/powerpoint/2010/main" val="1588308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42" presetClass="path" presetSubtype="0" decel="100000" fill="hold" nodeType="withEffect">
                                  <p:stCondLst>
                                    <p:cond delay="200"/>
                                  </p:stCondLst>
                                  <p:childTnLst>
                                    <p:animMotion origin="layout" path="M -2.42788E-6 -4.22152E-7 L 0.06217 0.00068 " pathEditMode="relative" rAng="0" ptsTypes="AA">
                                      <p:cBhvr>
                                        <p:cTn id="9" dur="500" spd="-100000" fill="hold"/>
                                        <p:tgtEl>
                                          <p:spTgt spid="14"/>
                                        </p:tgtEl>
                                        <p:attrNameLst>
                                          <p:attrName>ppt_x</p:attrName>
                                          <p:attrName>ppt_y</p:attrName>
                                        </p:attrNameLst>
                                      </p:cBhvr>
                                      <p:rCtr x="3102" y="23"/>
                                    </p:animMotion>
                                  </p:childTnLst>
                                </p:cTn>
                              </p:par>
                              <p:par>
                                <p:cTn id="10" presetID="10" presetClass="entr" presetSubtype="0" fill="hold" nodeType="withEffect">
                                  <p:stCondLst>
                                    <p:cond delay="20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42" presetClass="path" presetSubtype="0" decel="100000" fill="hold" nodeType="withEffect">
                                  <p:stCondLst>
                                    <p:cond delay="200"/>
                                  </p:stCondLst>
                                  <p:childTnLst>
                                    <p:animMotion origin="layout" path="M -2.42788E-6 -4.22152E-7 L 0.06217 0.00068 " pathEditMode="relative" rAng="0" ptsTypes="AA">
                                      <p:cBhvr>
                                        <p:cTn id="14" dur="500" spd="-100000" fill="hold"/>
                                        <p:tgtEl>
                                          <p:spTgt spid="20"/>
                                        </p:tgtEl>
                                        <p:attrNameLst>
                                          <p:attrName>ppt_x</p:attrName>
                                          <p:attrName>ppt_y</p:attrName>
                                        </p:attrNameLst>
                                      </p:cBhvr>
                                      <p:rCtr x="3102" y="23"/>
                                    </p:animMotion>
                                  </p:childTnLst>
                                </p:cTn>
                              </p:par>
                              <p:par>
                                <p:cTn id="15" presetID="10" presetClass="entr" presetSubtype="0" fill="hold" nodeType="withEffect">
                                  <p:stCondLst>
                                    <p:cond delay="20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500"/>
                                        <p:tgtEl>
                                          <p:spTgt spid="27"/>
                                        </p:tgtEl>
                                      </p:cBhvr>
                                    </p:animEffect>
                                  </p:childTnLst>
                                </p:cTn>
                              </p:par>
                              <p:par>
                                <p:cTn id="18" presetID="42" presetClass="path" presetSubtype="0" decel="100000" fill="hold" nodeType="withEffect">
                                  <p:stCondLst>
                                    <p:cond delay="200"/>
                                  </p:stCondLst>
                                  <p:childTnLst>
                                    <p:animMotion origin="layout" path="M -2.42788E-6 -4.22152E-7 L 0.06217 0.00068 " pathEditMode="relative" rAng="0" ptsTypes="AA">
                                      <p:cBhvr>
                                        <p:cTn id="19" dur="500" spd="-100000" fill="hold"/>
                                        <p:tgtEl>
                                          <p:spTgt spid="27"/>
                                        </p:tgtEl>
                                        <p:attrNameLst>
                                          <p:attrName>ppt_x</p:attrName>
                                          <p:attrName>ppt_y</p:attrName>
                                        </p:attrNameLst>
                                      </p:cBhvr>
                                      <p:rCtr x="3102" y="23"/>
                                    </p:animMotion>
                                  </p:childTnLst>
                                </p:cTn>
                              </p:par>
                              <p:par>
                                <p:cTn id="20" presetID="10" presetClass="entr" presetSubtype="0" fill="hold" nodeType="withEffect">
                                  <p:stCondLst>
                                    <p:cond delay="400"/>
                                  </p:stCondLst>
                                  <p:childTnLst>
                                    <p:set>
                                      <p:cBhvr>
                                        <p:cTn id="21" dur="1" fill="hold">
                                          <p:stCondLst>
                                            <p:cond delay="0"/>
                                          </p:stCondLst>
                                        </p:cTn>
                                        <p:tgtEl>
                                          <p:spTgt spid="15"/>
                                        </p:tgtEl>
                                        <p:attrNameLst>
                                          <p:attrName>style.visibility</p:attrName>
                                        </p:attrNameLst>
                                      </p:cBhvr>
                                      <p:to>
                                        <p:strVal val="visible"/>
                                      </p:to>
                                    </p:set>
                                    <p:animEffect transition="in" filter="fade">
                                      <p:cBhvr>
                                        <p:cTn id="22" dur="500"/>
                                        <p:tgtEl>
                                          <p:spTgt spid="15"/>
                                        </p:tgtEl>
                                      </p:cBhvr>
                                    </p:animEffect>
                                  </p:childTnLst>
                                </p:cTn>
                              </p:par>
                              <p:par>
                                <p:cTn id="23" presetID="42" presetClass="path" presetSubtype="0" decel="100000" fill="hold" nodeType="withEffect">
                                  <p:stCondLst>
                                    <p:cond delay="400"/>
                                  </p:stCondLst>
                                  <p:childTnLst>
                                    <p:animMotion origin="layout" path="M -2.42788E-6 -4.22152E-7 L 0.06217 0.00068 " pathEditMode="relative" rAng="0" ptsTypes="AA">
                                      <p:cBhvr>
                                        <p:cTn id="24" dur="500" spd="-100000" fill="hold"/>
                                        <p:tgtEl>
                                          <p:spTgt spid="15"/>
                                        </p:tgtEl>
                                        <p:attrNameLst>
                                          <p:attrName>ppt_x</p:attrName>
                                          <p:attrName>ppt_y</p:attrName>
                                        </p:attrNameLst>
                                      </p:cBhvr>
                                      <p:rCtr x="3102" y="23"/>
                                    </p:animMotion>
                                  </p:childTnLst>
                                </p:cTn>
                              </p:par>
                              <p:par>
                                <p:cTn id="25" presetID="10" presetClass="entr" presetSubtype="0" fill="hold" nodeType="withEffect">
                                  <p:stCondLst>
                                    <p:cond delay="40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par>
                                <p:cTn id="28" presetID="42" presetClass="path" presetSubtype="0" decel="100000" fill="hold" nodeType="withEffect">
                                  <p:stCondLst>
                                    <p:cond delay="400"/>
                                  </p:stCondLst>
                                  <p:childTnLst>
                                    <p:animMotion origin="layout" path="M -2.42788E-6 -4.22152E-7 L 0.06217 0.00068 " pathEditMode="relative" rAng="0" ptsTypes="AA">
                                      <p:cBhvr>
                                        <p:cTn id="29" dur="500" spd="-100000" fill="hold"/>
                                        <p:tgtEl>
                                          <p:spTgt spid="19"/>
                                        </p:tgtEl>
                                        <p:attrNameLst>
                                          <p:attrName>ppt_x</p:attrName>
                                          <p:attrName>ppt_y</p:attrName>
                                        </p:attrNameLst>
                                      </p:cBhvr>
                                      <p:rCtr x="3102" y="23"/>
                                    </p:animMotion>
                                  </p:childTnLst>
                                </p:cTn>
                              </p:par>
                              <p:par>
                                <p:cTn id="30" presetID="10" presetClass="entr" presetSubtype="0" fill="hold" nodeType="withEffect">
                                  <p:stCondLst>
                                    <p:cond delay="400"/>
                                  </p:stCondLst>
                                  <p:childTnLst>
                                    <p:set>
                                      <p:cBhvr>
                                        <p:cTn id="31" dur="1" fill="hold">
                                          <p:stCondLst>
                                            <p:cond delay="0"/>
                                          </p:stCondLst>
                                        </p:cTn>
                                        <p:tgtEl>
                                          <p:spTgt spid="30"/>
                                        </p:tgtEl>
                                        <p:attrNameLst>
                                          <p:attrName>style.visibility</p:attrName>
                                        </p:attrNameLst>
                                      </p:cBhvr>
                                      <p:to>
                                        <p:strVal val="visible"/>
                                      </p:to>
                                    </p:set>
                                    <p:animEffect transition="in" filter="fade">
                                      <p:cBhvr>
                                        <p:cTn id="32" dur="500"/>
                                        <p:tgtEl>
                                          <p:spTgt spid="30"/>
                                        </p:tgtEl>
                                      </p:cBhvr>
                                    </p:animEffect>
                                  </p:childTnLst>
                                </p:cTn>
                              </p:par>
                              <p:par>
                                <p:cTn id="33" presetID="42" presetClass="path" presetSubtype="0" decel="100000" fill="hold" nodeType="withEffect">
                                  <p:stCondLst>
                                    <p:cond delay="400"/>
                                  </p:stCondLst>
                                  <p:childTnLst>
                                    <p:animMotion origin="layout" path="M -2.42788E-6 -4.22152E-7 L 0.06217 0.00068 " pathEditMode="relative" rAng="0" ptsTypes="AA">
                                      <p:cBhvr>
                                        <p:cTn id="34" dur="500" spd="-100000" fill="hold"/>
                                        <p:tgtEl>
                                          <p:spTgt spid="30"/>
                                        </p:tgtEl>
                                        <p:attrNameLst>
                                          <p:attrName>ppt_x</p:attrName>
                                          <p:attrName>ppt_y</p:attrName>
                                        </p:attrNameLst>
                                      </p:cBhvr>
                                      <p:rCtr x="3102" y="23"/>
                                    </p:animMotion>
                                  </p:childTnLst>
                                </p:cTn>
                              </p:par>
                              <p:par>
                                <p:cTn id="35" presetID="10" presetClass="entr" presetSubtype="0" fill="hold" nodeType="withEffect">
                                  <p:stCondLst>
                                    <p:cond delay="600"/>
                                  </p:stCondLst>
                                  <p:childTnLst>
                                    <p:set>
                                      <p:cBhvr>
                                        <p:cTn id="36" dur="1" fill="hold">
                                          <p:stCondLst>
                                            <p:cond delay="0"/>
                                          </p:stCondLst>
                                        </p:cTn>
                                        <p:tgtEl>
                                          <p:spTgt spid="38"/>
                                        </p:tgtEl>
                                        <p:attrNameLst>
                                          <p:attrName>style.visibility</p:attrName>
                                        </p:attrNameLst>
                                      </p:cBhvr>
                                      <p:to>
                                        <p:strVal val="visible"/>
                                      </p:to>
                                    </p:set>
                                    <p:animEffect transition="in" filter="fade">
                                      <p:cBhvr>
                                        <p:cTn id="37" dur="500"/>
                                        <p:tgtEl>
                                          <p:spTgt spid="38"/>
                                        </p:tgtEl>
                                      </p:cBhvr>
                                    </p:animEffect>
                                  </p:childTnLst>
                                </p:cTn>
                              </p:par>
                              <p:par>
                                <p:cTn id="38" presetID="42" presetClass="path" presetSubtype="0" decel="100000" fill="hold" nodeType="withEffect">
                                  <p:stCondLst>
                                    <p:cond delay="600"/>
                                  </p:stCondLst>
                                  <p:childTnLst>
                                    <p:animMotion origin="layout" path="M -2.42788E-6 -4.22152E-7 L 0.06217 0.00068 " pathEditMode="relative" rAng="0" ptsTypes="AA">
                                      <p:cBhvr>
                                        <p:cTn id="39" dur="500" spd="-100000" fill="hold"/>
                                        <p:tgtEl>
                                          <p:spTgt spid="38"/>
                                        </p:tgtEl>
                                        <p:attrNameLst>
                                          <p:attrName>ppt_x</p:attrName>
                                          <p:attrName>ppt_y</p:attrName>
                                        </p:attrNameLst>
                                      </p:cBhvr>
                                      <p:rCtr x="3102" y="23"/>
                                    </p:animMotion>
                                  </p:childTnLst>
                                </p:cTn>
                              </p:par>
                              <p:par>
                                <p:cTn id="40" presetID="10" presetClass="entr" presetSubtype="0" fill="hold" nodeType="withEffect">
                                  <p:stCondLst>
                                    <p:cond delay="60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500"/>
                                        <p:tgtEl>
                                          <p:spTgt spid="18"/>
                                        </p:tgtEl>
                                      </p:cBhvr>
                                    </p:animEffect>
                                  </p:childTnLst>
                                </p:cTn>
                              </p:par>
                              <p:par>
                                <p:cTn id="43" presetID="42" presetClass="path" presetSubtype="0" decel="100000" fill="hold" nodeType="withEffect">
                                  <p:stCondLst>
                                    <p:cond delay="600"/>
                                  </p:stCondLst>
                                  <p:childTnLst>
                                    <p:animMotion origin="layout" path="M -2.42788E-6 -4.22152E-7 L 0.06217 0.00068 " pathEditMode="relative" rAng="0" ptsTypes="AA">
                                      <p:cBhvr>
                                        <p:cTn id="44" dur="500" spd="-100000" fill="hold"/>
                                        <p:tgtEl>
                                          <p:spTgt spid="18"/>
                                        </p:tgtEl>
                                        <p:attrNameLst>
                                          <p:attrName>ppt_x</p:attrName>
                                          <p:attrName>ppt_y</p:attrName>
                                        </p:attrNameLst>
                                      </p:cBhvr>
                                      <p:rCtr x="3102" y="23"/>
                                    </p:animMotion>
                                  </p:childTnLst>
                                </p:cTn>
                              </p:par>
                              <p:par>
                                <p:cTn id="45" presetID="10" presetClass="entr" presetSubtype="0" fill="hold" nodeType="withEffect">
                                  <p:stCondLst>
                                    <p:cond delay="600"/>
                                  </p:stCondLst>
                                  <p:childTnLst>
                                    <p:set>
                                      <p:cBhvr>
                                        <p:cTn id="46" dur="1" fill="hold">
                                          <p:stCondLst>
                                            <p:cond delay="0"/>
                                          </p:stCondLst>
                                        </p:cTn>
                                        <p:tgtEl>
                                          <p:spTgt spid="17"/>
                                        </p:tgtEl>
                                        <p:attrNameLst>
                                          <p:attrName>style.visibility</p:attrName>
                                        </p:attrNameLst>
                                      </p:cBhvr>
                                      <p:to>
                                        <p:strVal val="visible"/>
                                      </p:to>
                                    </p:set>
                                    <p:animEffect transition="in" filter="fade">
                                      <p:cBhvr>
                                        <p:cTn id="47" dur="500"/>
                                        <p:tgtEl>
                                          <p:spTgt spid="17"/>
                                        </p:tgtEl>
                                      </p:cBhvr>
                                    </p:animEffect>
                                  </p:childTnLst>
                                </p:cTn>
                              </p:par>
                              <p:par>
                                <p:cTn id="48" presetID="42" presetClass="path" presetSubtype="0" decel="100000" fill="hold" nodeType="withEffect">
                                  <p:stCondLst>
                                    <p:cond delay="600"/>
                                  </p:stCondLst>
                                  <p:childTnLst>
                                    <p:animMotion origin="layout" path="M -2.42788E-6 -4.22152E-7 L 0.06217 0.00068 " pathEditMode="relative" rAng="0" ptsTypes="AA">
                                      <p:cBhvr>
                                        <p:cTn id="49" dur="500" spd="-100000" fill="hold"/>
                                        <p:tgtEl>
                                          <p:spTgt spid="17"/>
                                        </p:tgtEl>
                                        <p:attrNameLst>
                                          <p:attrName>ppt_x</p:attrName>
                                          <p:attrName>ppt_y</p:attrName>
                                        </p:attrNameLst>
                                      </p:cBhvr>
                                      <p:rCtr x="3102" y="23"/>
                                    </p:animMotion>
                                  </p:childTnLst>
                                </p:cTn>
                              </p:par>
                              <p:par>
                                <p:cTn id="50" presetID="10" presetClass="entr" presetSubtype="0" fill="hold" nodeType="withEffect">
                                  <p:stCondLst>
                                    <p:cond delay="20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500"/>
                                        <p:tgtEl>
                                          <p:spTgt spid="13"/>
                                        </p:tgtEl>
                                      </p:cBhvr>
                                    </p:animEffect>
                                  </p:childTnLst>
                                </p:cTn>
                              </p:par>
                              <p:par>
                                <p:cTn id="53" presetID="35" presetClass="path" presetSubtype="0" decel="100000" fill="hold" nodeType="withEffect">
                                  <p:stCondLst>
                                    <p:cond delay="200"/>
                                  </p:stCondLst>
                                  <p:childTnLst>
                                    <p:animMotion origin="layout" path="M -4.45494E-6 -2.54653E-6 L -0.06369 -2.54653E-6 " pathEditMode="relative" rAng="0" ptsTypes="AA">
                                      <p:cBhvr>
                                        <p:cTn id="54" dur="500" spd="-100000" fill="hold"/>
                                        <p:tgtEl>
                                          <p:spTgt spid="13"/>
                                        </p:tgtEl>
                                        <p:attrNameLst>
                                          <p:attrName>ppt_x</p:attrName>
                                          <p:attrName>ppt_y</p:attrName>
                                        </p:attrNameLst>
                                      </p:cBhvr>
                                      <p:rCtr x="-3191" y="0"/>
                                    </p:animMotion>
                                  </p:childTnLst>
                                </p:cTn>
                              </p:par>
                              <p:par>
                                <p:cTn id="55" presetID="10" presetClass="entr" presetSubtype="0" fill="hold" nodeType="withEffect">
                                  <p:stCondLst>
                                    <p:cond delay="200"/>
                                  </p:stCondLst>
                                  <p:childTnLst>
                                    <p:set>
                                      <p:cBhvr>
                                        <p:cTn id="56" dur="1" fill="hold">
                                          <p:stCondLst>
                                            <p:cond delay="0"/>
                                          </p:stCondLst>
                                        </p:cTn>
                                        <p:tgtEl>
                                          <p:spTgt spid="21"/>
                                        </p:tgtEl>
                                        <p:attrNameLst>
                                          <p:attrName>style.visibility</p:attrName>
                                        </p:attrNameLst>
                                      </p:cBhvr>
                                      <p:to>
                                        <p:strVal val="visible"/>
                                      </p:to>
                                    </p:set>
                                    <p:animEffect transition="in" filter="fade">
                                      <p:cBhvr>
                                        <p:cTn id="57" dur="500"/>
                                        <p:tgtEl>
                                          <p:spTgt spid="21"/>
                                        </p:tgtEl>
                                      </p:cBhvr>
                                    </p:animEffect>
                                  </p:childTnLst>
                                </p:cTn>
                              </p:par>
                              <p:par>
                                <p:cTn id="58" presetID="35" presetClass="path" presetSubtype="0" decel="100000" fill="hold" nodeType="withEffect">
                                  <p:stCondLst>
                                    <p:cond delay="200"/>
                                  </p:stCondLst>
                                  <p:childTnLst>
                                    <p:animMotion origin="layout" path="M -4.45494E-6 -2.54653E-6 L -0.06369 -2.54653E-6 " pathEditMode="relative" rAng="0" ptsTypes="AA">
                                      <p:cBhvr>
                                        <p:cTn id="59" dur="500" spd="-100000" fill="hold"/>
                                        <p:tgtEl>
                                          <p:spTgt spid="21"/>
                                        </p:tgtEl>
                                        <p:attrNameLst>
                                          <p:attrName>ppt_x</p:attrName>
                                          <p:attrName>ppt_y</p:attrName>
                                        </p:attrNameLst>
                                      </p:cBhvr>
                                      <p:rCtr x="-3191" y="0"/>
                                    </p:animMotion>
                                  </p:childTnLst>
                                </p:cTn>
                              </p:par>
                              <p:par>
                                <p:cTn id="60" presetID="10" presetClass="entr" presetSubtype="0" fill="hold" nodeType="withEffect">
                                  <p:stCondLst>
                                    <p:cond delay="200"/>
                                  </p:stCondLst>
                                  <p:childTnLst>
                                    <p:set>
                                      <p:cBhvr>
                                        <p:cTn id="61" dur="1" fill="hold">
                                          <p:stCondLst>
                                            <p:cond delay="0"/>
                                          </p:stCondLst>
                                        </p:cTn>
                                        <p:tgtEl>
                                          <p:spTgt spid="26"/>
                                        </p:tgtEl>
                                        <p:attrNameLst>
                                          <p:attrName>style.visibility</p:attrName>
                                        </p:attrNameLst>
                                      </p:cBhvr>
                                      <p:to>
                                        <p:strVal val="visible"/>
                                      </p:to>
                                    </p:set>
                                    <p:animEffect transition="in" filter="fade">
                                      <p:cBhvr>
                                        <p:cTn id="62" dur="500"/>
                                        <p:tgtEl>
                                          <p:spTgt spid="26"/>
                                        </p:tgtEl>
                                      </p:cBhvr>
                                    </p:animEffect>
                                  </p:childTnLst>
                                </p:cTn>
                              </p:par>
                              <p:par>
                                <p:cTn id="63" presetID="35" presetClass="path" presetSubtype="0" decel="100000" fill="hold" nodeType="withEffect">
                                  <p:stCondLst>
                                    <p:cond delay="200"/>
                                  </p:stCondLst>
                                  <p:childTnLst>
                                    <p:animMotion origin="layout" path="M -4.45494E-6 -2.54653E-6 L -0.06369 -2.54653E-6 " pathEditMode="relative" rAng="0" ptsTypes="AA">
                                      <p:cBhvr>
                                        <p:cTn id="64" dur="500" spd="-100000" fill="hold"/>
                                        <p:tgtEl>
                                          <p:spTgt spid="26"/>
                                        </p:tgtEl>
                                        <p:attrNameLst>
                                          <p:attrName>ppt_x</p:attrName>
                                          <p:attrName>ppt_y</p:attrName>
                                        </p:attrNameLst>
                                      </p:cBhvr>
                                      <p:rCtr x="-3191" y="0"/>
                                    </p:animMotion>
                                  </p:childTnLst>
                                </p:cTn>
                              </p:par>
                              <p:par>
                                <p:cTn id="65" presetID="10" presetClass="entr" presetSubtype="0" fill="hold" nodeType="withEffect">
                                  <p:stCondLst>
                                    <p:cond delay="400"/>
                                  </p:stCondLst>
                                  <p:childTnLst>
                                    <p:set>
                                      <p:cBhvr>
                                        <p:cTn id="66" dur="1" fill="hold">
                                          <p:stCondLst>
                                            <p:cond delay="0"/>
                                          </p:stCondLst>
                                        </p:cTn>
                                        <p:tgtEl>
                                          <p:spTgt spid="25"/>
                                        </p:tgtEl>
                                        <p:attrNameLst>
                                          <p:attrName>style.visibility</p:attrName>
                                        </p:attrNameLst>
                                      </p:cBhvr>
                                      <p:to>
                                        <p:strVal val="visible"/>
                                      </p:to>
                                    </p:set>
                                    <p:animEffect transition="in" filter="fade">
                                      <p:cBhvr>
                                        <p:cTn id="67" dur="500"/>
                                        <p:tgtEl>
                                          <p:spTgt spid="25"/>
                                        </p:tgtEl>
                                      </p:cBhvr>
                                    </p:animEffect>
                                  </p:childTnLst>
                                </p:cTn>
                              </p:par>
                              <p:par>
                                <p:cTn id="68" presetID="35" presetClass="path" presetSubtype="0" decel="100000" fill="hold" nodeType="withEffect">
                                  <p:stCondLst>
                                    <p:cond delay="400"/>
                                  </p:stCondLst>
                                  <p:childTnLst>
                                    <p:animMotion origin="layout" path="M -4.45494E-6 -2.54653E-6 L -0.06369 -2.54653E-6 " pathEditMode="relative" rAng="0" ptsTypes="AA">
                                      <p:cBhvr>
                                        <p:cTn id="69" dur="500" spd="-100000" fill="hold"/>
                                        <p:tgtEl>
                                          <p:spTgt spid="25"/>
                                        </p:tgtEl>
                                        <p:attrNameLst>
                                          <p:attrName>ppt_x</p:attrName>
                                          <p:attrName>ppt_y</p:attrName>
                                        </p:attrNameLst>
                                      </p:cBhvr>
                                      <p:rCtr x="-3191" y="0"/>
                                    </p:animMotion>
                                  </p:childTnLst>
                                </p:cTn>
                              </p:par>
                              <p:par>
                                <p:cTn id="70" presetID="10" presetClass="entr" presetSubtype="0" fill="hold" nodeType="withEffect">
                                  <p:stCondLst>
                                    <p:cond delay="400"/>
                                  </p:stCondLst>
                                  <p:childTnLst>
                                    <p:set>
                                      <p:cBhvr>
                                        <p:cTn id="71" dur="1" fill="hold">
                                          <p:stCondLst>
                                            <p:cond delay="0"/>
                                          </p:stCondLst>
                                        </p:cTn>
                                        <p:tgtEl>
                                          <p:spTgt spid="22"/>
                                        </p:tgtEl>
                                        <p:attrNameLst>
                                          <p:attrName>style.visibility</p:attrName>
                                        </p:attrNameLst>
                                      </p:cBhvr>
                                      <p:to>
                                        <p:strVal val="visible"/>
                                      </p:to>
                                    </p:set>
                                    <p:animEffect transition="in" filter="fade">
                                      <p:cBhvr>
                                        <p:cTn id="72" dur="500"/>
                                        <p:tgtEl>
                                          <p:spTgt spid="22"/>
                                        </p:tgtEl>
                                      </p:cBhvr>
                                    </p:animEffect>
                                  </p:childTnLst>
                                </p:cTn>
                              </p:par>
                              <p:par>
                                <p:cTn id="73" presetID="35" presetClass="path" presetSubtype="0" decel="100000" fill="hold" nodeType="withEffect">
                                  <p:stCondLst>
                                    <p:cond delay="400"/>
                                  </p:stCondLst>
                                  <p:childTnLst>
                                    <p:animMotion origin="layout" path="M -4.45494E-6 -2.54653E-6 L -0.06369 -2.54653E-6 " pathEditMode="relative" rAng="0" ptsTypes="AA">
                                      <p:cBhvr>
                                        <p:cTn id="74" dur="500" spd="-100000" fill="hold"/>
                                        <p:tgtEl>
                                          <p:spTgt spid="22"/>
                                        </p:tgtEl>
                                        <p:attrNameLst>
                                          <p:attrName>ppt_x</p:attrName>
                                          <p:attrName>ppt_y</p:attrName>
                                        </p:attrNameLst>
                                      </p:cBhvr>
                                      <p:rCtr x="-3191" y="0"/>
                                    </p:animMotion>
                                  </p:childTnLst>
                                </p:cTn>
                              </p:par>
                              <p:par>
                                <p:cTn id="75" presetID="10" presetClass="entr" presetSubtype="0" fill="hold" nodeType="withEffect">
                                  <p:stCondLst>
                                    <p:cond delay="400"/>
                                  </p:stCondLst>
                                  <p:childTnLst>
                                    <p:set>
                                      <p:cBhvr>
                                        <p:cTn id="76" dur="1" fill="hold">
                                          <p:stCondLst>
                                            <p:cond delay="0"/>
                                          </p:stCondLst>
                                        </p:cTn>
                                        <p:tgtEl>
                                          <p:spTgt spid="12"/>
                                        </p:tgtEl>
                                        <p:attrNameLst>
                                          <p:attrName>style.visibility</p:attrName>
                                        </p:attrNameLst>
                                      </p:cBhvr>
                                      <p:to>
                                        <p:strVal val="visible"/>
                                      </p:to>
                                    </p:set>
                                    <p:animEffect transition="in" filter="fade">
                                      <p:cBhvr>
                                        <p:cTn id="77" dur="500"/>
                                        <p:tgtEl>
                                          <p:spTgt spid="12"/>
                                        </p:tgtEl>
                                      </p:cBhvr>
                                    </p:animEffect>
                                  </p:childTnLst>
                                </p:cTn>
                              </p:par>
                              <p:par>
                                <p:cTn id="78" presetID="35" presetClass="path" presetSubtype="0" decel="100000" fill="hold" nodeType="withEffect">
                                  <p:stCondLst>
                                    <p:cond delay="400"/>
                                  </p:stCondLst>
                                  <p:childTnLst>
                                    <p:animMotion origin="layout" path="M -4.45494E-6 -2.54653E-6 L -0.06369 -2.54653E-6 " pathEditMode="relative" rAng="0" ptsTypes="AA">
                                      <p:cBhvr>
                                        <p:cTn id="79" dur="500" spd="-100000" fill="hold"/>
                                        <p:tgtEl>
                                          <p:spTgt spid="12"/>
                                        </p:tgtEl>
                                        <p:attrNameLst>
                                          <p:attrName>ppt_x</p:attrName>
                                          <p:attrName>ppt_y</p:attrName>
                                        </p:attrNameLst>
                                      </p:cBhvr>
                                      <p:rCtr x="-3191" y="0"/>
                                    </p:animMotion>
                                  </p:childTnLst>
                                </p:cTn>
                              </p:par>
                              <p:par>
                                <p:cTn id="80" presetID="10" presetClass="entr" presetSubtype="0" fill="hold" nodeType="withEffect">
                                  <p:stCondLst>
                                    <p:cond delay="600"/>
                                  </p:stCondLst>
                                  <p:childTnLst>
                                    <p:set>
                                      <p:cBhvr>
                                        <p:cTn id="81" dur="1" fill="hold">
                                          <p:stCondLst>
                                            <p:cond delay="0"/>
                                          </p:stCondLst>
                                        </p:cTn>
                                        <p:tgtEl>
                                          <p:spTgt spid="11"/>
                                        </p:tgtEl>
                                        <p:attrNameLst>
                                          <p:attrName>style.visibility</p:attrName>
                                        </p:attrNameLst>
                                      </p:cBhvr>
                                      <p:to>
                                        <p:strVal val="visible"/>
                                      </p:to>
                                    </p:set>
                                    <p:animEffect transition="in" filter="fade">
                                      <p:cBhvr>
                                        <p:cTn id="82" dur="500"/>
                                        <p:tgtEl>
                                          <p:spTgt spid="11"/>
                                        </p:tgtEl>
                                      </p:cBhvr>
                                    </p:animEffect>
                                  </p:childTnLst>
                                </p:cTn>
                              </p:par>
                              <p:par>
                                <p:cTn id="83" presetID="35" presetClass="path" presetSubtype="0" decel="100000" fill="hold" nodeType="withEffect">
                                  <p:stCondLst>
                                    <p:cond delay="600"/>
                                  </p:stCondLst>
                                  <p:childTnLst>
                                    <p:animMotion origin="layout" path="M -4.45494E-6 -2.54653E-6 L -0.06369 -2.54653E-6 " pathEditMode="relative" rAng="0" ptsTypes="AA">
                                      <p:cBhvr>
                                        <p:cTn id="84" dur="500" spd="-100000" fill="hold"/>
                                        <p:tgtEl>
                                          <p:spTgt spid="11"/>
                                        </p:tgtEl>
                                        <p:attrNameLst>
                                          <p:attrName>ppt_x</p:attrName>
                                          <p:attrName>ppt_y</p:attrName>
                                        </p:attrNameLst>
                                      </p:cBhvr>
                                      <p:rCtr x="-3191" y="0"/>
                                    </p:animMotion>
                                  </p:childTnLst>
                                </p:cTn>
                              </p:par>
                              <p:par>
                                <p:cTn id="85" presetID="10" presetClass="entr" presetSubtype="0" fill="hold" nodeType="withEffect">
                                  <p:stCondLst>
                                    <p:cond delay="600"/>
                                  </p:stCondLst>
                                  <p:childTnLst>
                                    <p:set>
                                      <p:cBhvr>
                                        <p:cTn id="86" dur="1" fill="hold">
                                          <p:stCondLst>
                                            <p:cond delay="0"/>
                                          </p:stCondLst>
                                        </p:cTn>
                                        <p:tgtEl>
                                          <p:spTgt spid="23"/>
                                        </p:tgtEl>
                                        <p:attrNameLst>
                                          <p:attrName>style.visibility</p:attrName>
                                        </p:attrNameLst>
                                      </p:cBhvr>
                                      <p:to>
                                        <p:strVal val="visible"/>
                                      </p:to>
                                    </p:set>
                                    <p:animEffect transition="in" filter="fade">
                                      <p:cBhvr>
                                        <p:cTn id="87" dur="500"/>
                                        <p:tgtEl>
                                          <p:spTgt spid="23"/>
                                        </p:tgtEl>
                                      </p:cBhvr>
                                    </p:animEffect>
                                  </p:childTnLst>
                                </p:cTn>
                              </p:par>
                              <p:par>
                                <p:cTn id="88" presetID="35" presetClass="path" presetSubtype="0" decel="100000" fill="hold" nodeType="withEffect">
                                  <p:stCondLst>
                                    <p:cond delay="600"/>
                                  </p:stCondLst>
                                  <p:childTnLst>
                                    <p:animMotion origin="layout" path="M -4.45494E-6 -2.54653E-6 L -0.06369 -2.54653E-6 " pathEditMode="relative" rAng="0" ptsTypes="AA">
                                      <p:cBhvr>
                                        <p:cTn id="89" dur="500" spd="-100000" fill="hold"/>
                                        <p:tgtEl>
                                          <p:spTgt spid="23"/>
                                        </p:tgtEl>
                                        <p:attrNameLst>
                                          <p:attrName>ppt_x</p:attrName>
                                          <p:attrName>ppt_y</p:attrName>
                                        </p:attrNameLst>
                                      </p:cBhvr>
                                      <p:rCtr x="-3191" y="0"/>
                                    </p:animMotion>
                                  </p:childTnLst>
                                </p:cTn>
                              </p:par>
                              <p:par>
                                <p:cTn id="90" presetID="10" presetClass="entr" presetSubtype="0" fill="hold" nodeType="withEffect">
                                  <p:stCondLst>
                                    <p:cond delay="600"/>
                                  </p:stCondLst>
                                  <p:childTnLst>
                                    <p:set>
                                      <p:cBhvr>
                                        <p:cTn id="91" dur="1" fill="hold">
                                          <p:stCondLst>
                                            <p:cond delay="0"/>
                                          </p:stCondLst>
                                        </p:cTn>
                                        <p:tgtEl>
                                          <p:spTgt spid="24"/>
                                        </p:tgtEl>
                                        <p:attrNameLst>
                                          <p:attrName>style.visibility</p:attrName>
                                        </p:attrNameLst>
                                      </p:cBhvr>
                                      <p:to>
                                        <p:strVal val="visible"/>
                                      </p:to>
                                    </p:set>
                                    <p:animEffect transition="in" filter="fade">
                                      <p:cBhvr>
                                        <p:cTn id="92" dur="500"/>
                                        <p:tgtEl>
                                          <p:spTgt spid="24"/>
                                        </p:tgtEl>
                                      </p:cBhvr>
                                    </p:animEffect>
                                  </p:childTnLst>
                                </p:cTn>
                              </p:par>
                              <p:par>
                                <p:cTn id="93" presetID="35" presetClass="path" presetSubtype="0" decel="100000" fill="hold" nodeType="withEffect">
                                  <p:stCondLst>
                                    <p:cond delay="600"/>
                                  </p:stCondLst>
                                  <p:childTnLst>
                                    <p:animMotion origin="layout" path="M -4.45494E-6 -2.54653E-6 L -0.06369 -2.54653E-6 " pathEditMode="relative" rAng="0" ptsTypes="AA">
                                      <p:cBhvr>
                                        <p:cTn id="94" dur="500" spd="-100000" fill="hold"/>
                                        <p:tgtEl>
                                          <p:spTgt spid="24"/>
                                        </p:tgtEl>
                                        <p:attrNameLst>
                                          <p:attrName>ppt_x</p:attrName>
                                          <p:attrName>ppt_y</p:attrName>
                                        </p:attrNameLst>
                                      </p:cBhvr>
                                      <p:rCtr x="-31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crosoft Azure Machine Learning</a:t>
            </a:r>
          </a:p>
        </p:txBody>
      </p:sp>
      <p:sp>
        <p:nvSpPr>
          <p:cNvPr id="3" name="Content Placeholder 2"/>
          <p:cNvSpPr>
            <a:spLocks noGrp="1"/>
          </p:cNvSpPr>
          <p:nvPr>
            <p:ph idx="1"/>
          </p:nvPr>
        </p:nvSpPr>
        <p:spPr>
          <a:xfrm>
            <a:off x="201879" y="1450017"/>
            <a:ext cx="11887200" cy="3928679"/>
          </a:xfrm>
        </p:spPr>
        <p:txBody>
          <a:bodyPr>
            <a:normAutofit/>
          </a:bodyPr>
          <a:lstStyle/>
          <a:p>
            <a:pPr marL="0" indent="0">
              <a:buNone/>
            </a:pPr>
            <a:r>
              <a:rPr lang="en-US" sz="4000" i="1" dirty="0"/>
              <a:t>Make machine learning accessible to every enterprise, data scientist, developer, information worker, consumer, and device anywhere in the world.</a:t>
            </a:r>
          </a:p>
        </p:txBody>
      </p:sp>
      <p:pic>
        <p:nvPicPr>
          <p:cNvPr id="4" name="Picture 3"/>
          <p:cNvPicPr>
            <a:picLocks noChangeAspect="1"/>
          </p:cNvPicPr>
          <p:nvPr/>
        </p:nvPicPr>
        <p:blipFill>
          <a:blip r:embed="rId3"/>
          <a:stretch>
            <a:fillRect/>
          </a:stretch>
        </p:blipFill>
        <p:spPr>
          <a:xfrm>
            <a:off x="9695343" y="4662496"/>
            <a:ext cx="2496657" cy="2195504"/>
          </a:xfrm>
          <a:prstGeom prst="rect">
            <a:avLst/>
          </a:prstGeom>
        </p:spPr>
      </p:pic>
    </p:spTree>
    <p:extLst>
      <p:ext uri="{BB962C8B-B14F-4D97-AF65-F5344CB8AC3E}">
        <p14:creationId xmlns:p14="http://schemas.microsoft.com/office/powerpoint/2010/main" val="236897434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hy?</a:t>
            </a:r>
          </a:p>
        </p:txBody>
      </p:sp>
      <p:sp>
        <p:nvSpPr>
          <p:cNvPr id="5" name="Content Placeholder 4"/>
          <p:cNvSpPr>
            <a:spLocks noGrp="1"/>
          </p:cNvSpPr>
          <p:nvPr>
            <p:ph idx="1"/>
          </p:nvPr>
        </p:nvSpPr>
        <p:spPr>
          <a:xfrm>
            <a:off x="152400" y="1028700"/>
            <a:ext cx="11887200" cy="5359400"/>
          </a:xfrm>
        </p:spPr>
        <p:txBody>
          <a:bodyPr>
            <a:normAutofit/>
          </a:bodyPr>
          <a:lstStyle/>
          <a:p>
            <a:r>
              <a:rPr lang="en-US" sz="3200" dirty="0"/>
              <a:t>Data Science is complex</a:t>
            </a:r>
          </a:p>
          <a:p>
            <a:pPr lvl="1"/>
            <a:r>
              <a:rPr lang="en-US" sz="2800" dirty="0"/>
              <a:t>Cost of accessing/using efficient ML algorithms is high</a:t>
            </a:r>
          </a:p>
          <a:p>
            <a:pPr lvl="1"/>
            <a:r>
              <a:rPr lang="en-US" sz="2800" dirty="0"/>
              <a:t>Comprehensive knowledge required on different tools/platforms to develop a complete ML project</a:t>
            </a:r>
          </a:p>
          <a:p>
            <a:pPr lvl="1"/>
            <a:r>
              <a:rPr lang="en-US" sz="2800" dirty="0"/>
              <a:t>Difficult to put the developed solution into a scalable production stage</a:t>
            </a:r>
          </a:p>
          <a:p>
            <a:pPr marL="336145" lvl="1" indent="0">
              <a:buNone/>
            </a:pPr>
            <a:endParaRPr lang="en-US" sz="2800" dirty="0"/>
          </a:p>
          <a:p>
            <a:r>
              <a:rPr lang="en-US" sz="3200" dirty="0"/>
              <a:t>Azure Machine Learning</a:t>
            </a:r>
          </a:p>
          <a:p>
            <a:pPr lvl="1"/>
            <a:r>
              <a:rPr lang="en-US" sz="2800" dirty="0"/>
              <a:t>Easier and faster solution</a:t>
            </a:r>
          </a:p>
          <a:p>
            <a:pPr lvl="1"/>
            <a:endParaRPr lang="en-US" sz="2800" dirty="0"/>
          </a:p>
          <a:p>
            <a:pPr lvl="1"/>
            <a:endParaRPr lang="en-US" sz="2800" dirty="0"/>
          </a:p>
        </p:txBody>
      </p:sp>
      <p:grpSp>
        <p:nvGrpSpPr>
          <p:cNvPr id="8" name="Group 7"/>
          <p:cNvGrpSpPr/>
          <p:nvPr/>
        </p:nvGrpSpPr>
        <p:grpSpPr>
          <a:xfrm>
            <a:off x="7045801" y="3920273"/>
            <a:ext cx="4625809" cy="2299415"/>
            <a:chOff x="7119168" y="2207942"/>
            <a:chExt cx="4625809" cy="2299415"/>
          </a:xfrm>
        </p:grpSpPr>
        <p:pic>
          <p:nvPicPr>
            <p:cNvPr id="7" name="Picture 6" descr="Clipart - Electropherogram"/>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19168" y="2909442"/>
              <a:ext cx="4469692" cy="1597915"/>
            </a:xfrm>
            <a:prstGeom prst="rect">
              <a:avLst/>
            </a:prstGeom>
          </p:spPr>
        </p:pic>
        <p:pic>
          <p:nvPicPr>
            <p:cNvPr id="6" name="Picture 5" descr="brandyelliott - Teacher's Resources"/>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988107" y="2207942"/>
              <a:ext cx="1756870" cy="1677012"/>
            </a:xfrm>
            <a:prstGeom prst="rect">
              <a:avLst/>
            </a:prstGeom>
          </p:spPr>
        </p:pic>
      </p:grpSp>
    </p:spTree>
    <p:extLst>
      <p:ext uri="{BB962C8B-B14F-4D97-AF65-F5344CB8AC3E}">
        <p14:creationId xmlns:p14="http://schemas.microsoft.com/office/powerpoint/2010/main" val="47873907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p:cNvCxnSpPr/>
          <p:nvPr/>
        </p:nvCxnSpPr>
        <p:spPr>
          <a:xfrm>
            <a:off x="3206595" y="1547193"/>
            <a:ext cx="0" cy="4973938"/>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328336" y="324579"/>
            <a:ext cx="11648566" cy="927546"/>
          </a:xfrm>
        </p:spPr>
        <p:txBody>
          <a:bodyPr>
            <a:normAutofit fontScale="90000"/>
          </a:bodyPr>
          <a:lstStyle/>
          <a:p>
            <a:pPr fontAlgn="base">
              <a:spcAft>
                <a:spcPts val="588"/>
              </a:spcAft>
            </a:pPr>
            <a:r>
              <a:rPr lang="en-US" sz="5684" dirty="0">
                <a:gradFill>
                  <a:gsLst>
                    <a:gs pos="0">
                      <a:schemeClr val="bg1"/>
                    </a:gs>
                    <a:gs pos="100000">
                      <a:schemeClr val="bg1"/>
                    </a:gs>
                  </a:gsLst>
                  <a:lin ang="5400000" scaled="1"/>
                </a:gradFill>
              </a:rPr>
              <a:t>Azure Machine Learning Service</a:t>
            </a:r>
            <a:br>
              <a:rPr lang="en-US" sz="5684" dirty="0">
                <a:gradFill>
                  <a:gsLst>
                    <a:gs pos="0">
                      <a:schemeClr val="bg1"/>
                    </a:gs>
                    <a:gs pos="100000">
                      <a:schemeClr val="bg1"/>
                    </a:gs>
                  </a:gsLst>
                  <a:lin ang="5400000" scaled="1"/>
                </a:gradFill>
              </a:rPr>
            </a:br>
            <a:r>
              <a:rPr lang="en-US" sz="2157" dirty="0">
                <a:gradFill>
                  <a:gsLst>
                    <a:gs pos="0">
                      <a:schemeClr val="accent4"/>
                    </a:gs>
                    <a:gs pos="100000">
                      <a:schemeClr val="accent4"/>
                    </a:gs>
                  </a:gsLst>
                  <a:lin ang="5400000" scaled="1"/>
                </a:gradFill>
                <a:latin typeface="Segoe UI"/>
                <a:ea typeface="+mn-ea"/>
                <a:cs typeface="+mn-cs"/>
              </a:rPr>
              <a:t>Data -&gt; Predictive model -&gt; Operational web API in minutes</a:t>
            </a:r>
            <a:endParaRPr lang="en-US" sz="5684" dirty="0">
              <a:solidFill>
                <a:schemeClr val="bg1"/>
              </a:solidFill>
            </a:endParaRPr>
          </a:p>
        </p:txBody>
      </p:sp>
      <p:sp>
        <p:nvSpPr>
          <p:cNvPr id="140" name="TextBox 139"/>
          <p:cNvSpPr txBox="1"/>
          <p:nvPr/>
        </p:nvSpPr>
        <p:spPr>
          <a:xfrm>
            <a:off x="208280" y="3953136"/>
            <a:ext cx="2948214" cy="1164539"/>
          </a:xfrm>
          <a:prstGeom prst="rect">
            <a:avLst/>
          </a:prstGeom>
          <a:noFill/>
        </p:spPr>
        <p:txBody>
          <a:bodyPr wrap="none" lIns="179208" tIns="143366" rIns="179208" bIns="143366" rtlCol="0">
            <a:spAutoFit/>
          </a:bodyPr>
          <a:lstStyle/>
          <a:p>
            <a:pPr defTabSz="914225" fontAlgn="base">
              <a:spcBef>
                <a:spcPct val="0"/>
              </a:spcBef>
              <a:spcAft>
                <a:spcPts val="588"/>
              </a:spcAft>
            </a:pPr>
            <a:r>
              <a:rPr lang="en-US" sz="1568" dirty="0">
                <a:gradFill>
                  <a:gsLst>
                    <a:gs pos="0">
                      <a:srgbClr val="FFFFFF"/>
                    </a:gs>
                    <a:gs pos="100000">
                      <a:srgbClr val="FFFFFF"/>
                    </a:gs>
                  </a:gsLst>
                  <a:lin ang="5400000" scaled="1"/>
                </a:gradFill>
                <a:latin typeface="Segoe UI" panose="020B0502040204020203" pitchFamily="34" charset="0"/>
                <a:cs typeface="Segoe UI" panose="020B0502040204020203" pitchFamily="34" charset="0"/>
              </a:rPr>
              <a:t>Blobs and Tables</a:t>
            </a:r>
          </a:p>
          <a:p>
            <a:pPr defTabSz="914225" fontAlgn="base">
              <a:spcBef>
                <a:spcPct val="0"/>
              </a:spcBef>
              <a:spcAft>
                <a:spcPts val="588"/>
              </a:spcAft>
            </a:pPr>
            <a:r>
              <a:rPr lang="en-US" sz="1568" dirty="0">
                <a:gradFill>
                  <a:gsLst>
                    <a:gs pos="0">
                      <a:srgbClr val="FFFFFF"/>
                    </a:gs>
                    <a:gs pos="100000">
                      <a:srgbClr val="FFFFFF"/>
                    </a:gs>
                  </a:gsLst>
                  <a:lin ang="5400000" scaled="1"/>
                </a:gradFill>
                <a:latin typeface="Segoe UI" panose="020B0502040204020203" pitchFamily="34" charset="0"/>
                <a:cs typeface="Segoe UI" panose="020B0502040204020203" pitchFamily="34" charset="0"/>
              </a:rPr>
              <a:t>Hadoop (HDInsight)</a:t>
            </a:r>
          </a:p>
          <a:p>
            <a:pPr defTabSz="914225" fontAlgn="base">
              <a:spcBef>
                <a:spcPct val="0"/>
              </a:spcBef>
              <a:spcAft>
                <a:spcPts val="588"/>
              </a:spcAft>
            </a:pPr>
            <a:r>
              <a:rPr lang="en-US" sz="1568" dirty="0">
                <a:gradFill>
                  <a:gsLst>
                    <a:gs pos="0">
                      <a:srgbClr val="FFFFFF"/>
                    </a:gs>
                    <a:gs pos="100000">
                      <a:srgbClr val="FFFFFF"/>
                    </a:gs>
                  </a:gsLst>
                  <a:lin ang="5400000" scaled="1"/>
                </a:gradFill>
                <a:latin typeface="Segoe UI" panose="020B0502040204020203" pitchFamily="34" charset="0"/>
                <a:cs typeface="Segoe UI" panose="020B0502040204020203" pitchFamily="34" charset="0"/>
              </a:rPr>
              <a:t>Relational DB (Azure SQL DB)</a:t>
            </a:r>
          </a:p>
        </p:txBody>
      </p:sp>
      <p:sp>
        <p:nvSpPr>
          <p:cNvPr id="21" name="Rectangle 20"/>
          <p:cNvSpPr/>
          <p:nvPr/>
        </p:nvSpPr>
        <p:spPr>
          <a:xfrm>
            <a:off x="774852" y="1474334"/>
            <a:ext cx="1404918" cy="609943"/>
          </a:xfrm>
          <a:prstGeom prst="rect">
            <a:avLst/>
          </a:prstGeom>
        </p:spPr>
        <p:txBody>
          <a:bodyPr wrap="square" lIns="179208" tIns="134406" rIns="179208" bIns="134406">
            <a:spAutoFit/>
          </a:bodyPr>
          <a:lstStyle/>
          <a:p>
            <a:pPr algn="ctr" defTabSz="895870"/>
            <a:r>
              <a:rPr lang="en-US" sz="2157" dirty="0">
                <a:gradFill>
                  <a:gsLst>
                    <a:gs pos="0">
                      <a:srgbClr val="FFFFFF"/>
                    </a:gs>
                    <a:gs pos="100000">
                      <a:srgbClr val="FFFFFF"/>
                    </a:gs>
                  </a:gsLst>
                  <a:lin ang="5400000" scaled="1"/>
                </a:gradFill>
                <a:latin typeface="Segoe UI Light"/>
                <a:ea typeface="Calibri" panose="020F0502020204030204" pitchFamily="34" charset="0"/>
              </a:rPr>
              <a:t>Data</a:t>
            </a:r>
          </a:p>
        </p:txBody>
      </p:sp>
      <p:grpSp>
        <p:nvGrpSpPr>
          <p:cNvPr id="38" name="Group 37"/>
          <p:cNvGrpSpPr/>
          <p:nvPr/>
        </p:nvGrpSpPr>
        <p:grpSpPr>
          <a:xfrm>
            <a:off x="10504461" y="2449152"/>
            <a:ext cx="456983" cy="785046"/>
            <a:chOff x="9384608" y="3646196"/>
            <a:chExt cx="466344" cy="801128"/>
          </a:xfrm>
        </p:grpSpPr>
        <p:grpSp>
          <p:nvGrpSpPr>
            <p:cNvPr id="24" name="Group 23"/>
            <p:cNvGrpSpPr/>
            <p:nvPr/>
          </p:nvGrpSpPr>
          <p:grpSpPr>
            <a:xfrm>
              <a:off x="9384608" y="3646196"/>
              <a:ext cx="466344" cy="801128"/>
              <a:chOff x="9384608" y="3646196"/>
              <a:chExt cx="466344" cy="801128"/>
            </a:xfrm>
          </p:grpSpPr>
          <p:sp>
            <p:nvSpPr>
              <p:cNvPr id="95" name="Freeform 10"/>
              <p:cNvSpPr>
                <a:spLocks/>
              </p:cNvSpPr>
              <p:nvPr/>
            </p:nvSpPr>
            <p:spPr bwMode="auto">
              <a:xfrm>
                <a:off x="9384608" y="3646196"/>
                <a:ext cx="466344" cy="801128"/>
              </a:xfrm>
              <a:custGeom>
                <a:avLst/>
                <a:gdLst>
                  <a:gd name="T0" fmla="*/ 172 w 184"/>
                  <a:gd name="T1" fmla="*/ 0 h 314"/>
                  <a:gd name="T2" fmla="*/ 12 w 184"/>
                  <a:gd name="T3" fmla="*/ 0 h 314"/>
                  <a:gd name="T4" fmla="*/ 0 w 184"/>
                  <a:gd name="T5" fmla="*/ 12 h 314"/>
                  <a:gd name="T6" fmla="*/ 0 w 184"/>
                  <a:gd name="T7" fmla="*/ 302 h 314"/>
                  <a:gd name="T8" fmla="*/ 12 w 184"/>
                  <a:gd name="T9" fmla="*/ 314 h 314"/>
                  <a:gd name="T10" fmla="*/ 172 w 184"/>
                  <a:gd name="T11" fmla="*/ 314 h 314"/>
                  <a:gd name="T12" fmla="*/ 184 w 184"/>
                  <a:gd name="T13" fmla="*/ 302 h 314"/>
                  <a:gd name="T14" fmla="*/ 184 w 184"/>
                  <a:gd name="T15" fmla="*/ 12 h 314"/>
                  <a:gd name="T16" fmla="*/ 172 w 184"/>
                  <a:gd name="T17"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314">
                    <a:moveTo>
                      <a:pt x="172" y="0"/>
                    </a:moveTo>
                    <a:cubicBezTo>
                      <a:pt x="12" y="0"/>
                      <a:pt x="12" y="0"/>
                      <a:pt x="12" y="0"/>
                    </a:cubicBezTo>
                    <a:cubicBezTo>
                      <a:pt x="6" y="0"/>
                      <a:pt x="0" y="5"/>
                      <a:pt x="0" y="12"/>
                    </a:cubicBezTo>
                    <a:cubicBezTo>
                      <a:pt x="0" y="302"/>
                      <a:pt x="0" y="302"/>
                      <a:pt x="0" y="302"/>
                    </a:cubicBezTo>
                    <a:cubicBezTo>
                      <a:pt x="0" y="308"/>
                      <a:pt x="6" y="314"/>
                      <a:pt x="12" y="314"/>
                    </a:cubicBezTo>
                    <a:cubicBezTo>
                      <a:pt x="172" y="314"/>
                      <a:pt x="172" y="314"/>
                      <a:pt x="172" y="314"/>
                    </a:cubicBezTo>
                    <a:cubicBezTo>
                      <a:pt x="178" y="314"/>
                      <a:pt x="184" y="308"/>
                      <a:pt x="184" y="302"/>
                    </a:cubicBezTo>
                    <a:cubicBezTo>
                      <a:pt x="184" y="12"/>
                      <a:pt x="184" y="12"/>
                      <a:pt x="184" y="12"/>
                    </a:cubicBezTo>
                    <a:cubicBezTo>
                      <a:pt x="184" y="5"/>
                      <a:pt x="178" y="0"/>
                      <a:pt x="172" y="0"/>
                    </a:cubicBezTo>
                  </a:path>
                </a:pathLst>
              </a:custGeom>
              <a:solidFill>
                <a:schemeClr val="bg1"/>
              </a:solidFill>
              <a:ln>
                <a:noFill/>
              </a:ln>
              <a:extLst/>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latin typeface="Segoe UI"/>
                </a:endParaRPr>
              </a:p>
            </p:txBody>
          </p:sp>
          <p:sp>
            <p:nvSpPr>
              <p:cNvPr id="96" name="Rectangle 11"/>
              <p:cNvSpPr>
                <a:spLocks noChangeArrowheads="1"/>
              </p:cNvSpPr>
              <p:nvPr/>
            </p:nvSpPr>
            <p:spPr bwMode="auto">
              <a:xfrm>
                <a:off x="9430600" y="3692189"/>
                <a:ext cx="374359" cy="629993"/>
              </a:xfrm>
              <a:prstGeom prst="rect">
                <a:avLst/>
              </a:prstGeom>
              <a:solidFill>
                <a:srgbClr val="DC3C00"/>
              </a:solidFill>
              <a:ln>
                <a:noFill/>
              </a:ln>
              <a:extLst/>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latin typeface="Segoe UI"/>
                </a:endParaRPr>
              </a:p>
            </p:txBody>
          </p:sp>
          <p:grpSp>
            <p:nvGrpSpPr>
              <p:cNvPr id="125" name="Group 124"/>
              <p:cNvGrpSpPr/>
              <p:nvPr/>
            </p:nvGrpSpPr>
            <p:grpSpPr>
              <a:xfrm>
                <a:off x="9484650" y="3817383"/>
                <a:ext cx="268769" cy="458657"/>
                <a:chOff x="10365212" y="5859572"/>
                <a:chExt cx="483110" cy="660040"/>
              </a:xfrm>
              <a:solidFill>
                <a:schemeClr val="bg1"/>
              </a:solidFill>
            </p:grpSpPr>
            <p:sp>
              <p:nvSpPr>
                <p:cNvPr id="126" name="Rectangle 9"/>
                <p:cNvSpPr>
                  <a:spLocks noChangeArrowheads="1"/>
                </p:cNvSpPr>
                <p:nvPr/>
              </p:nvSpPr>
              <p:spPr bwMode="auto">
                <a:xfrm>
                  <a:off x="10631433" y="6241326"/>
                  <a:ext cx="83515" cy="27828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latin typeface="Segoe UI"/>
                  </a:endParaRPr>
                </a:p>
              </p:txBody>
            </p:sp>
            <p:sp>
              <p:nvSpPr>
                <p:cNvPr id="128" name="Freeform 11"/>
                <p:cNvSpPr>
                  <a:spLocks/>
                </p:cNvSpPr>
                <p:nvPr/>
              </p:nvSpPr>
              <p:spPr bwMode="auto">
                <a:xfrm>
                  <a:off x="10365212" y="6063340"/>
                  <a:ext cx="84051" cy="456272"/>
                </a:xfrm>
                <a:custGeom>
                  <a:avLst/>
                  <a:gdLst>
                    <a:gd name="T0" fmla="*/ 0 w 314"/>
                    <a:gd name="T1" fmla="*/ 0 h 1292"/>
                    <a:gd name="T2" fmla="*/ 0 w 314"/>
                    <a:gd name="T3" fmla="*/ 641 h 1292"/>
                    <a:gd name="T4" fmla="*/ 0 w 314"/>
                    <a:gd name="T5" fmla="*/ 1292 h 1292"/>
                    <a:gd name="T6" fmla="*/ 314 w 314"/>
                    <a:gd name="T7" fmla="*/ 1292 h 1292"/>
                    <a:gd name="T8" fmla="*/ 314 w 314"/>
                    <a:gd name="T9" fmla="*/ 537 h 1292"/>
                    <a:gd name="T10" fmla="*/ 314 w 314"/>
                    <a:gd name="T11" fmla="*/ 0 h 1292"/>
                    <a:gd name="T12" fmla="*/ 0 w 314"/>
                    <a:gd name="T13" fmla="*/ 0 h 1292"/>
                  </a:gdLst>
                  <a:ahLst/>
                  <a:cxnLst>
                    <a:cxn ang="0">
                      <a:pos x="T0" y="T1"/>
                    </a:cxn>
                    <a:cxn ang="0">
                      <a:pos x="T2" y="T3"/>
                    </a:cxn>
                    <a:cxn ang="0">
                      <a:pos x="T4" y="T5"/>
                    </a:cxn>
                    <a:cxn ang="0">
                      <a:pos x="T6" y="T7"/>
                    </a:cxn>
                    <a:cxn ang="0">
                      <a:pos x="T8" y="T9"/>
                    </a:cxn>
                    <a:cxn ang="0">
                      <a:pos x="T10" y="T11"/>
                    </a:cxn>
                    <a:cxn ang="0">
                      <a:pos x="T12" y="T13"/>
                    </a:cxn>
                  </a:cxnLst>
                  <a:rect l="0" t="0" r="r" b="b"/>
                  <a:pathLst>
                    <a:path w="314" h="1292">
                      <a:moveTo>
                        <a:pt x="0" y="0"/>
                      </a:moveTo>
                      <a:lnTo>
                        <a:pt x="0" y="641"/>
                      </a:lnTo>
                      <a:lnTo>
                        <a:pt x="0" y="1292"/>
                      </a:lnTo>
                      <a:lnTo>
                        <a:pt x="314" y="1292"/>
                      </a:lnTo>
                      <a:lnTo>
                        <a:pt x="314" y="537"/>
                      </a:lnTo>
                      <a:lnTo>
                        <a:pt x="314"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latin typeface="Segoe UI"/>
                  </a:endParaRPr>
                </a:p>
              </p:txBody>
            </p:sp>
            <p:sp>
              <p:nvSpPr>
                <p:cNvPr id="169" name="Freeform 12"/>
                <p:cNvSpPr>
                  <a:spLocks/>
                </p:cNvSpPr>
                <p:nvPr/>
              </p:nvSpPr>
              <p:spPr bwMode="auto">
                <a:xfrm>
                  <a:off x="10497994" y="5859572"/>
                  <a:ext cx="84051" cy="660040"/>
                </a:xfrm>
                <a:custGeom>
                  <a:avLst/>
                  <a:gdLst>
                    <a:gd name="T0" fmla="*/ 0 w 314"/>
                    <a:gd name="T1" fmla="*/ 0 h 1869"/>
                    <a:gd name="T2" fmla="*/ 0 w 314"/>
                    <a:gd name="T3" fmla="*/ 1093 h 1869"/>
                    <a:gd name="T4" fmla="*/ 0 w 314"/>
                    <a:gd name="T5" fmla="*/ 1869 h 1869"/>
                    <a:gd name="T6" fmla="*/ 314 w 314"/>
                    <a:gd name="T7" fmla="*/ 1869 h 1869"/>
                    <a:gd name="T8" fmla="*/ 314 w 314"/>
                    <a:gd name="T9" fmla="*/ 991 h 1869"/>
                    <a:gd name="T10" fmla="*/ 314 w 314"/>
                    <a:gd name="T11" fmla="*/ 0 h 1869"/>
                    <a:gd name="T12" fmla="*/ 0 w 314"/>
                    <a:gd name="T13" fmla="*/ 0 h 1869"/>
                  </a:gdLst>
                  <a:ahLst/>
                  <a:cxnLst>
                    <a:cxn ang="0">
                      <a:pos x="T0" y="T1"/>
                    </a:cxn>
                    <a:cxn ang="0">
                      <a:pos x="T2" y="T3"/>
                    </a:cxn>
                    <a:cxn ang="0">
                      <a:pos x="T4" y="T5"/>
                    </a:cxn>
                    <a:cxn ang="0">
                      <a:pos x="T6" y="T7"/>
                    </a:cxn>
                    <a:cxn ang="0">
                      <a:pos x="T8" y="T9"/>
                    </a:cxn>
                    <a:cxn ang="0">
                      <a:pos x="T10" y="T11"/>
                    </a:cxn>
                    <a:cxn ang="0">
                      <a:pos x="T12" y="T13"/>
                    </a:cxn>
                  </a:cxnLst>
                  <a:rect l="0" t="0" r="r" b="b"/>
                  <a:pathLst>
                    <a:path w="314" h="1869">
                      <a:moveTo>
                        <a:pt x="0" y="0"/>
                      </a:moveTo>
                      <a:lnTo>
                        <a:pt x="0" y="1093"/>
                      </a:lnTo>
                      <a:lnTo>
                        <a:pt x="0" y="1869"/>
                      </a:lnTo>
                      <a:lnTo>
                        <a:pt x="314" y="1869"/>
                      </a:lnTo>
                      <a:lnTo>
                        <a:pt x="314" y="991"/>
                      </a:lnTo>
                      <a:lnTo>
                        <a:pt x="314"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latin typeface="Segoe UI"/>
                  </a:endParaRPr>
                </a:p>
              </p:txBody>
            </p:sp>
            <p:sp>
              <p:nvSpPr>
                <p:cNvPr id="170" name="Freeform 13"/>
                <p:cNvSpPr>
                  <a:spLocks/>
                </p:cNvSpPr>
                <p:nvPr/>
              </p:nvSpPr>
              <p:spPr bwMode="auto">
                <a:xfrm>
                  <a:off x="10764271" y="6070049"/>
                  <a:ext cx="84051" cy="449561"/>
                </a:xfrm>
                <a:custGeom>
                  <a:avLst/>
                  <a:gdLst>
                    <a:gd name="T0" fmla="*/ 0 w 314"/>
                    <a:gd name="T1" fmla="*/ 0 h 1273"/>
                    <a:gd name="T2" fmla="*/ 0 w 314"/>
                    <a:gd name="T3" fmla="*/ 251 h 1273"/>
                    <a:gd name="T4" fmla="*/ 0 w 314"/>
                    <a:gd name="T5" fmla="*/ 1273 h 1273"/>
                    <a:gd name="T6" fmla="*/ 314 w 314"/>
                    <a:gd name="T7" fmla="*/ 1273 h 1273"/>
                    <a:gd name="T8" fmla="*/ 314 w 314"/>
                    <a:gd name="T9" fmla="*/ 149 h 1273"/>
                    <a:gd name="T10" fmla="*/ 314 w 314"/>
                    <a:gd name="T11" fmla="*/ 0 h 1273"/>
                    <a:gd name="T12" fmla="*/ 0 w 314"/>
                    <a:gd name="T13" fmla="*/ 0 h 1273"/>
                  </a:gdLst>
                  <a:ahLst/>
                  <a:cxnLst>
                    <a:cxn ang="0">
                      <a:pos x="T0" y="T1"/>
                    </a:cxn>
                    <a:cxn ang="0">
                      <a:pos x="T2" y="T3"/>
                    </a:cxn>
                    <a:cxn ang="0">
                      <a:pos x="T4" y="T5"/>
                    </a:cxn>
                    <a:cxn ang="0">
                      <a:pos x="T6" y="T7"/>
                    </a:cxn>
                    <a:cxn ang="0">
                      <a:pos x="T8" y="T9"/>
                    </a:cxn>
                    <a:cxn ang="0">
                      <a:pos x="T10" y="T11"/>
                    </a:cxn>
                    <a:cxn ang="0">
                      <a:pos x="T12" y="T13"/>
                    </a:cxn>
                  </a:cxnLst>
                  <a:rect l="0" t="0" r="r" b="b"/>
                  <a:pathLst>
                    <a:path w="314" h="1273">
                      <a:moveTo>
                        <a:pt x="0" y="0"/>
                      </a:moveTo>
                      <a:lnTo>
                        <a:pt x="0" y="251"/>
                      </a:lnTo>
                      <a:lnTo>
                        <a:pt x="0" y="1273"/>
                      </a:lnTo>
                      <a:lnTo>
                        <a:pt x="314" y="1273"/>
                      </a:lnTo>
                      <a:lnTo>
                        <a:pt x="314" y="149"/>
                      </a:lnTo>
                      <a:lnTo>
                        <a:pt x="314"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latin typeface="Segoe UI"/>
                  </a:endParaRPr>
                </a:p>
              </p:txBody>
            </p:sp>
          </p:grpSp>
        </p:grpSp>
        <p:sp>
          <p:nvSpPr>
            <p:cNvPr id="97" name="Rectangle 12"/>
            <p:cNvSpPr>
              <a:spLocks noChangeArrowheads="1"/>
            </p:cNvSpPr>
            <p:nvPr/>
          </p:nvSpPr>
          <p:spPr bwMode="auto">
            <a:xfrm>
              <a:off x="9430600" y="3692189"/>
              <a:ext cx="374359" cy="62999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latin typeface="Segoe UI"/>
              </a:endParaRPr>
            </a:p>
          </p:txBody>
        </p:sp>
        <p:sp>
          <p:nvSpPr>
            <p:cNvPr id="98" name="Freeform 13"/>
            <p:cNvSpPr>
              <a:spLocks/>
            </p:cNvSpPr>
            <p:nvPr/>
          </p:nvSpPr>
          <p:spPr bwMode="auto">
            <a:xfrm>
              <a:off x="9547187" y="4360686"/>
              <a:ext cx="141187" cy="18183"/>
            </a:xfrm>
            <a:custGeom>
              <a:avLst/>
              <a:gdLst>
                <a:gd name="T0" fmla="*/ 56 w 56"/>
                <a:gd name="T1" fmla="*/ 3 h 7"/>
                <a:gd name="T2" fmla="*/ 52 w 56"/>
                <a:gd name="T3" fmla="*/ 7 h 7"/>
                <a:gd name="T4" fmla="*/ 4 w 56"/>
                <a:gd name="T5" fmla="*/ 7 h 7"/>
                <a:gd name="T6" fmla="*/ 0 w 56"/>
                <a:gd name="T7" fmla="*/ 3 h 7"/>
                <a:gd name="T8" fmla="*/ 4 w 56"/>
                <a:gd name="T9" fmla="*/ 0 h 7"/>
                <a:gd name="T10" fmla="*/ 52 w 56"/>
                <a:gd name="T11" fmla="*/ 0 h 7"/>
                <a:gd name="T12" fmla="*/ 56 w 56"/>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6" y="3"/>
                  </a:moveTo>
                  <a:cubicBezTo>
                    <a:pt x="56" y="5"/>
                    <a:pt x="54" y="7"/>
                    <a:pt x="52" y="7"/>
                  </a:cubicBezTo>
                  <a:cubicBezTo>
                    <a:pt x="4" y="7"/>
                    <a:pt x="4" y="7"/>
                    <a:pt x="4" y="7"/>
                  </a:cubicBezTo>
                  <a:cubicBezTo>
                    <a:pt x="2" y="7"/>
                    <a:pt x="0" y="5"/>
                    <a:pt x="0" y="3"/>
                  </a:cubicBezTo>
                  <a:cubicBezTo>
                    <a:pt x="0" y="1"/>
                    <a:pt x="2" y="0"/>
                    <a:pt x="4" y="0"/>
                  </a:cubicBezTo>
                  <a:cubicBezTo>
                    <a:pt x="52" y="0"/>
                    <a:pt x="52" y="0"/>
                    <a:pt x="52" y="0"/>
                  </a:cubicBezTo>
                  <a:cubicBezTo>
                    <a:pt x="54" y="0"/>
                    <a:pt x="56" y="1"/>
                    <a:pt x="56" y="3"/>
                  </a:cubicBezTo>
                  <a:close/>
                </a:path>
              </a:pathLst>
            </a:custGeom>
            <a:solidFill>
              <a:schemeClr val="accent4"/>
            </a:solidFill>
            <a:ln>
              <a:noFill/>
            </a:ln>
            <a:extLst/>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latin typeface="Segoe UI"/>
              </a:endParaRPr>
            </a:p>
          </p:txBody>
        </p:sp>
        <p:sp>
          <p:nvSpPr>
            <p:cNvPr id="99" name="Rectangle 14"/>
            <p:cNvSpPr>
              <a:spLocks noChangeArrowheads="1"/>
            </p:cNvSpPr>
            <p:nvPr/>
          </p:nvSpPr>
          <p:spPr bwMode="auto">
            <a:xfrm>
              <a:off x="9430600" y="4322181"/>
              <a:ext cx="124073" cy="1070"/>
            </a:xfrm>
            <a:prstGeom prst="rect">
              <a:avLst/>
            </a:prstGeom>
            <a:solidFill>
              <a:srgbClr val="5C476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latin typeface="Segoe UI"/>
              </a:endParaRPr>
            </a:p>
          </p:txBody>
        </p:sp>
        <p:sp>
          <p:nvSpPr>
            <p:cNvPr id="100" name="Freeform 15"/>
            <p:cNvSpPr>
              <a:spLocks/>
            </p:cNvSpPr>
            <p:nvPr/>
          </p:nvSpPr>
          <p:spPr bwMode="auto">
            <a:xfrm>
              <a:off x="9430600" y="4322181"/>
              <a:ext cx="124073" cy="0"/>
            </a:xfrm>
            <a:custGeom>
              <a:avLst/>
              <a:gdLst>
                <a:gd name="T0" fmla="*/ 116 w 116"/>
                <a:gd name="T1" fmla="*/ 0 w 116"/>
                <a:gd name="T2" fmla="*/ 0 w 116"/>
                <a:gd name="T3" fmla="*/ 116 w 116"/>
              </a:gdLst>
              <a:ahLst/>
              <a:cxnLst>
                <a:cxn ang="0">
                  <a:pos x="T0" y="0"/>
                </a:cxn>
                <a:cxn ang="0">
                  <a:pos x="T1" y="0"/>
                </a:cxn>
                <a:cxn ang="0">
                  <a:pos x="T2" y="0"/>
                </a:cxn>
                <a:cxn ang="0">
                  <a:pos x="T3" y="0"/>
                </a:cxn>
              </a:cxnLst>
              <a:rect l="0" t="0" r="r" b="b"/>
              <a:pathLst>
                <a:path w="116">
                  <a:moveTo>
                    <a:pt x="116" y="0"/>
                  </a:moveTo>
                  <a:lnTo>
                    <a:pt x="0" y="0"/>
                  </a:lnTo>
                  <a:lnTo>
                    <a:pt x="0" y="0"/>
                  </a:lnTo>
                  <a:lnTo>
                    <a:pt x="11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latin typeface="Segoe UI"/>
              </a:endParaRPr>
            </a:p>
          </p:txBody>
        </p:sp>
        <p:sp>
          <p:nvSpPr>
            <p:cNvPr id="102" name="Freeform 17"/>
            <p:cNvSpPr>
              <a:spLocks/>
            </p:cNvSpPr>
            <p:nvPr/>
          </p:nvSpPr>
          <p:spPr bwMode="auto">
            <a:xfrm>
              <a:off x="9430600" y="3692189"/>
              <a:ext cx="220337" cy="629993"/>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latin typeface="Segoe UI"/>
              </a:endParaRPr>
            </a:p>
          </p:txBody>
        </p:sp>
      </p:grpSp>
      <p:grpSp>
        <p:nvGrpSpPr>
          <p:cNvPr id="41" name="Group 40"/>
          <p:cNvGrpSpPr/>
          <p:nvPr/>
        </p:nvGrpSpPr>
        <p:grpSpPr>
          <a:xfrm>
            <a:off x="9909827" y="3526130"/>
            <a:ext cx="1675601" cy="856174"/>
            <a:chOff x="9708797" y="4105152"/>
            <a:chExt cx="1709928" cy="873714"/>
          </a:xfrm>
        </p:grpSpPr>
        <p:grpSp>
          <p:nvGrpSpPr>
            <p:cNvPr id="15" name="Group 14"/>
            <p:cNvGrpSpPr/>
            <p:nvPr/>
          </p:nvGrpSpPr>
          <p:grpSpPr>
            <a:xfrm>
              <a:off x="9708797" y="4105152"/>
              <a:ext cx="1709928" cy="873714"/>
              <a:chOff x="13377563" y="2176438"/>
              <a:chExt cx="1709928" cy="873714"/>
            </a:xfrm>
          </p:grpSpPr>
          <p:sp>
            <p:nvSpPr>
              <p:cNvPr id="90" name="Freeform 5"/>
              <p:cNvSpPr>
                <a:spLocks/>
              </p:cNvSpPr>
              <p:nvPr/>
            </p:nvSpPr>
            <p:spPr bwMode="auto">
              <a:xfrm>
                <a:off x="13377563" y="2981404"/>
                <a:ext cx="1709928" cy="68748"/>
              </a:xfrm>
              <a:custGeom>
                <a:avLst/>
                <a:gdLst>
                  <a:gd name="T0" fmla="*/ 0 w 578"/>
                  <a:gd name="T1" fmla="*/ 6 h 23"/>
                  <a:gd name="T2" fmla="*/ 0 w 578"/>
                  <a:gd name="T3" fmla="*/ 11 h 23"/>
                  <a:gd name="T4" fmla="*/ 0 w 578"/>
                  <a:gd name="T5" fmla="*/ 12 h 23"/>
                  <a:gd name="T6" fmla="*/ 0 w 578"/>
                  <a:gd name="T7" fmla="*/ 12 h 23"/>
                  <a:gd name="T8" fmla="*/ 0 w 578"/>
                  <a:gd name="T9" fmla="*/ 13 h 23"/>
                  <a:gd name="T10" fmla="*/ 0 w 578"/>
                  <a:gd name="T11" fmla="*/ 14 h 23"/>
                  <a:gd name="T12" fmla="*/ 11 w 578"/>
                  <a:gd name="T13" fmla="*/ 23 h 23"/>
                  <a:gd name="T14" fmla="*/ 566 w 578"/>
                  <a:gd name="T15" fmla="*/ 23 h 23"/>
                  <a:gd name="T16" fmla="*/ 578 w 578"/>
                  <a:gd name="T17" fmla="*/ 15 h 23"/>
                  <a:gd name="T18" fmla="*/ 578 w 578"/>
                  <a:gd name="T19" fmla="*/ 14 h 23"/>
                  <a:gd name="T20" fmla="*/ 578 w 578"/>
                  <a:gd name="T21" fmla="*/ 6 h 23"/>
                  <a:gd name="T22" fmla="*/ 0 w 578"/>
                  <a:gd name="T23"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8" h="23">
                    <a:moveTo>
                      <a:pt x="0" y="6"/>
                    </a:moveTo>
                    <a:cubicBezTo>
                      <a:pt x="0" y="18"/>
                      <a:pt x="0" y="11"/>
                      <a:pt x="0" y="11"/>
                    </a:cubicBezTo>
                    <a:cubicBezTo>
                      <a:pt x="0" y="12"/>
                      <a:pt x="0" y="12"/>
                      <a:pt x="0" y="12"/>
                    </a:cubicBezTo>
                    <a:cubicBezTo>
                      <a:pt x="0" y="12"/>
                      <a:pt x="0" y="12"/>
                      <a:pt x="0" y="12"/>
                    </a:cubicBezTo>
                    <a:cubicBezTo>
                      <a:pt x="0" y="13"/>
                      <a:pt x="0" y="13"/>
                      <a:pt x="0" y="13"/>
                    </a:cubicBezTo>
                    <a:cubicBezTo>
                      <a:pt x="0" y="14"/>
                      <a:pt x="0" y="14"/>
                      <a:pt x="0" y="14"/>
                    </a:cubicBezTo>
                    <a:cubicBezTo>
                      <a:pt x="0" y="19"/>
                      <a:pt x="6" y="23"/>
                      <a:pt x="11" y="23"/>
                    </a:cubicBezTo>
                    <a:cubicBezTo>
                      <a:pt x="566" y="23"/>
                      <a:pt x="566" y="23"/>
                      <a:pt x="566" y="23"/>
                    </a:cubicBezTo>
                    <a:cubicBezTo>
                      <a:pt x="572" y="23"/>
                      <a:pt x="576" y="20"/>
                      <a:pt x="578" y="15"/>
                    </a:cubicBezTo>
                    <a:cubicBezTo>
                      <a:pt x="578" y="14"/>
                      <a:pt x="578" y="14"/>
                      <a:pt x="578" y="14"/>
                    </a:cubicBezTo>
                    <a:cubicBezTo>
                      <a:pt x="578" y="0"/>
                      <a:pt x="578" y="6"/>
                      <a:pt x="578" y="6"/>
                    </a:cubicBezTo>
                    <a:lnTo>
                      <a:pt x="0" y="6"/>
                    </a:lnTo>
                    <a:close/>
                  </a:path>
                </a:pathLst>
              </a:custGeom>
              <a:solidFill>
                <a:schemeClr val="bg1"/>
              </a:solidFill>
              <a:ln>
                <a:noFill/>
              </a:ln>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latin typeface="Segoe UI"/>
                </a:endParaRPr>
              </a:p>
            </p:txBody>
          </p:sp>
          <p:sp>
            <p:nvSpPr>
              <p:cNvPr id="91" name="Freeform 6"/>
              <p:cNvSpPr>
                <a:spLocks/>
              </p:cNvSpPr>
              <p:nvPr/>
            </p:nvSpPr>
            <p:spPr bwMode="auto">
              <a:xfrm>
                <a:off x="13593804" y="2176438"/>
                <a:ext cx="1277446" cy="828716"/>
              </a:xfrm>
              <a:custGeom>
                <a:avLst/>
                <a:gdLst>
                  <a:gd name="T0" fmla="*/ 15 w 432"/>
                  <a:gd name="T1" fmla="*/ 278 h 278"/>
                  <a:gd name="T2" fmla="*/ 418 w 432"/>
                  <a:gd name="T3" fmla="*/ 278 h 278"/>
                  <a:gd name="T4" fmla="*/ 432 w 432"/>
                  <a:gd name="T5" fmla="*/ 263 h 278"/>
                  <a:gd name="T6" fmla="*/ 432 w 432"/>
                  <a:gd name="T7" fmla="*/ 15 h 278"/>
                  <a:gd name="T8" fmla="*/ 418 w 432"/>
                  <a:gd name="T9" fmla="*/ 0 h 278"/>
                  <a:gd name="T10" fmla="*/ 15 w 432"/>
                  <a:gd name="T11" fmla="*/ 0 h 278"/>
                  <a:gd name="T12" fmla="*/ 0 w 432"/>
                  <a:gd name="T13" fmla="*/ 15 h 278"/>
                  <a:gd name="T14" fmla="*/ 0 w 432"/>
                  <a:gd name="T15" fmla="*/ 263 h 278"/>
                  <a:gd name="T16" fmla="*/ 15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5"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5" y="0"/>
                      <a:pt x="15" y="0"/>
                      <a:pt x="15" y="0"/>
                    </a:cubicBezTo>
                    <a:cubicBezTo>
                      <a:pt x="8" y="0"/>
                      <a:pt x="0" y="6"/>
                      <a:pt x="0" y="15"/>
                    </a:cubicBezTo>
                    <a:cubicBezTo>
                      <a:pt x="0" y="263"/>
                      <a:pt x="0" y="263"/>
                      <a:pt x="0" y="263"/>
                    </a:cubicBezTo>
                    <a:cubicBezTo>
                      <a:pt x="0" y="272"/>
                      <a:pt x="8" y="278"/>
                      <a:pt x="15" y="278"/>
                    </a:cubicBezTo>
                  </a:path>
                </a:pathLst>
              </a:custGeom>
              <a:solidFill>
                <a:schemeClr val="bg1"/>
              </a:solidFill>
              <a:ln>
                <a:noFill/>
              </a:ln>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latin typeface="Segoe UI"/>
                </a:endParaRPr>
              </a:p>
            </p:txBody>
          </p:sp>
          <p:sp>
            <p:nvSpPr>
              <p:cNvPr id="92" name="Freeform 7"/>
              <p:cNvSpPr>
                <a:spLocks/>
              </p:cNvSpPr>
              <p:nvPr/>
            </p:nvSpPr>
            <p:spPr bwMode="auto">
              <a:xfrm>
                <a:off x="13650052" y="2223936"/>
                <a:ext cx="1167451" cy="727470"/>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rgbClr val="DC3C00"/>
              </a:solidFill>
              <a:ln>
                <a:noFill/>
              </a:ln>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latin typeface="Segoe UI"/>
                </a:endParaRPr>
              </a:p>
            </p:txBody>
          </p:sp>
        </p:grpSp>
        <p:grpSp>
          <p:nvGrpSpPr>
            <p:cNvPr id="178" name="Group 1031"/>
            <p:cNvGrpSpPr>
              <a:grpSpLocks/>
            </p:cNvGrpSpPr>
            <p:nvPr/>
          </p:nvGrpSpPr>
          <p:grpSpPr bwMode="auto">
            <a:xfrm>
              <a:off x="10118108" y="4299632"/>
              <a:ext cx="923472" cy="460684"/>
              <a:chOff x="4841436" y="5510539"/>
              <a:chExt cx="1049696" cy="523224"/>
            </a:xfrm>
            <a:solidFill>
              <a:schemeClr val="bg1"/>
            </a:solidFill>
          </p:grpSpPr>
          <p:sp>
            <p:nvSpPr>
              <p:cNvPr id="179" name="Freeform 67"/>
              <p:cNvSpPr>
                <a:spLocks/>
              </p:cNvSpPr>
              <p:nvPr/>
            </p:nvSpPr>
            <p:spPr bwMode="auto">
              <a:xfrm>
                <a:off x="5030334" y="5852188"/>
                <a:ext cx="59777" cy="181575"/>
              </a:xfrm>
              <a:custGeom>
                <a:avLst/>
                <a:gdLst>
                  <a:gd name="T0" fmla="*/ 0 w 222"/>
                  <a:gd name="T1" fmla="*/ 0 h 674"/>
                  <a:gd name="T2" fmla="*/ 0 w 222"/>
                  <a:gd name="T3" fmla="*/ 135 h 674"/>
                  <a:gd name="T4" fmla="*/ 0 w 222"/>
                  <a:gd name="T5" fmla="*/ 674 h 674"/>
                  <a:gd name="T6" fmla="*/ 222 w 222"/>
                  <a:gd name="T7" fmla="*/ 674 h 674"/>
                  <a:gd name="T8" fmla="*/ 222 w 222"/>
                  <a:gd name="T9" fmla="*/ 29 h 674"/>
                  <a:gd name="T10" fmla="*/ 222 w 222"/>
                  <a:gd name="T11" fmla="*/ 0 h 674"/>
                  <a:gd name="T12" fmla="*/ 0 w 222"/>
                  <a:gd name="T13" fmla="*/ 0 h 674"/>
                </a:gdLst>
                <a:ahLst/>
                <a:cxnLst>
                  <a:cxn ang="0">
                    <a:pos x="T0" y="T1"/>
                  </a:cxn>
                  <a:cxn ang="0">
                    <a:pos x="T2" y="T3"/>
                  </a:cxn>
                  <a:cxn ang="0">
                    <a:pos x="T4" y="T5"/>
                  </a:cxn>
                  <a:cxn ang="0">
                    <a:pos x="T6" y="T7"/>
                  </a:cxn>
                  <a:cxn ang="0">
                    <a:pos x="T8" y="T9"/>
                  </a:cxn>
                  <a:cxn ang="0">
                    <a:pos x="T10" y="T11"/>
                  </a:cxn>
                  <a:cxn ang="0">
                    <a:pos x="T12" y="T13"/>
                  </a:cxn>
                </a:cxnLst>
                <a:rect l="0" t="0" r="r" b="b"/>
                <a:pathLst>
                  <a:path w="222" h="674">
                    <a:moveTo>
                      <a:pt x="0" y="0"/>
                    </a:moveTo>
                    <a:lnTo>
                      <a:pt x="0" y="135"/>
                    </a:lnTo>
                    <a:lnTo>
                      <a:pt x="0" y="674"/>
                    </a:lnTo>
                    <a:lnTo>
                      <a:pt x="222" y="674"/>
                    </a:lnTo>
                    <a:lnTo>
                      <a:pt x="222" y="29"/>
                    </a:lnTo>
                    <a:lnTo>
                      <a:pt x="222" y="0"/>
                    </a:lnTo>
                    <a:lnTo>
                      <a:pt x="0" y="0"/>
                    </a:lnTo>
                    <a:close/>
                  </a:path>
                </a:pathLst>
              </a:custGeom>
              <a:grpFill/>
              <a:ln>
                <a:noFill/>
              </a:ln>
            </p:spPr>
            <p:txBody>
              <a:bodyPr/>
              <a:lstStyle/>
              <a:p>
                <a:pPr defTabSz="913788">
                  <a:defRPr/>
                </a:pPr>
                <a:endParaRPr lang="en-US" dirty="0">
                  <a:solidFill>
                    <a:srgbClr val="00B0F0"/>
                  </a:solidFill>
                  <a:latin typeface="Segoe UI"/>
                </a:endParaRPr>
              </a:p>
            </p:txBody>
          </p:sp>
          <p:sp>
            <p:nvSpPr>
              <p:cNvPr id="180" name="Freeform 68"/>
              <p:cNvSpPr>
                <a:spLocks/>
              </p:cNvSpPr>
              <p:nvPr/>
            </p:nvSpPr>
            <p:spPr bwMode="auto">
              <a:xfrm>
                <a:off x="5125978" y="5677779"/>
                <a:ext cx="59777" cy="355984"/>
              </a:xfrm>
              <a:custGeom>
                <a:avLst/>
                <a:gdLst>
                  <a:gd name="T0" fmla="*/ 0 w 223"/>
                  <a:gd name="T1" fmla="*/ 0 h 1319"/>
                  <a:gd name="T2" fmla="*/ 0 w 223"/>
                  <a:gd name="T3" fmla="*/ 652 h 1319"/>
                  <a:gd name="T4" fmla="*/ 0 w 223"/>
                  <a:gd name="T5" fmla="*/ 1319 h 1319"/>
                  <a:gd name="T6" fmla="*/ 223 w 223"/>
                  <a:gd name="T7" fmla="*/ 1319 h 1319"/>
                  <a:gd name="T8" fmla="*/ 223 w 223"/>
                  <a:gd name="T9" fmla="*/ 548 h 1319"/>
                  <a:gd name="T10" fmla="*/ 223 w 223"/>
                  <a:gd name="T11" fmla="*/ 0 h 1319"/>
                  <a:gd name="T12" fmla="*/ 0 w 223"/>
                  <a:gd name="T13" fmla="*/ 0 h 1319"/>
                </a:gdLst>
                <a:ahLst/>
                <a:cxnLst>
                  <a:cxn ang="0">
                    <a:pos x="T0" y="T1"/>
                  </a:cxn>
                  <a:cxn ang="0">
                    <a:pos x="T2" y="T3"/>
                  </a:cxn>
                  <a:cxn ang="0">
                    <a:pos x="T4" y="T5"/>
                  </a:cxn>
                  <a:cxn ang="0">
                    <a:pos x="T6" y="T7"/>
                  </a:cxn>
                  <a:cxn ang="0">
                    <a:pos x="T8" y="T9"/>
                  </a:cxn>
                  <a:cxn ang="0">
                    <a:pos x="T10" y="T11"/>
                  </a:cxn>
                  <a:cxn ang="0">
                    <a:pos x="T12" y="T13"/>
                  </a:cxn>
                </a:cxnLst>
                <a:rect l="0" t="0" r="r" b="b"/>
                <a:pathLst>
                  <a:path w="223" h="1319">
                    <a:moveTo>
                      <a:pt x="0" y="0"/>
                    </a:moveTo>
                    <a:lnTo>
                      <a:pt x="0" y="652"/>
                    </a:lnTo>
                    <a:lnTo>
                      <a:pt x="0" y="1319"/>
                    </a:lnTo>
                    <a:lnTo>
                      <a:pt x="223" y="1319"/>
                    </a:lnTo>
                    <a:lnTo>
                      <a:pt x="223" y="548"/>
                    </a:lnTo>
                    <a:lnTo>
                      <a:pt x="223" y="0"/>
                    </a:lnTo>
                    <a:lnTo>
                      <a:pt x="0" y="0"/>
                    </a:lnTo>
                    <a:close/>
                  </a:path>
                </a:pathLst>
              </a:custGeom>
              <a:grpFill/>
              <a:ln>
                <a:noFill/>
              </a:ln>
            </p:spPr>
            <p:txBody>
              <a:bodyPr/>
              <a:lstStyle/>
              <a:p>
                <a:pPr defTabSz="913788">
                  <a:defRPr/>
                </a:pPr>
                <a:endParaRPr lang="en-US" dirty="0">
                  <a:solidFill>
                    <a:srgbClr val="00B0F0"/>
                  </a:solidFill>
                  <a:latin typeface="Segoe UI"/>
                </a:endParaRPr>
              </a:p>
            </p:txBody>
          </p:sp>
          <p:sp>
            <p:nvSpPr>
              <p:cNvPr id="181" name="Freeform 69"/>
              <p:cNvSpPr>
                <a:spLocks/>
              </p:cNvSpPr>
              <p:nvPr/>
            </p:nvSpPr>
            <p:spPr bwMode="auto">
              <a:xfrm>
                <a:off x="5219231" y="5517707"/>
                <a:ext cx="62169" cy="516056"/>
              </a:xfrm>
              <a:custGeom>
                <a:avLst/>
                <a:gdLst>
                  <a:gd name="T0" fmla="*/ 0 w 223"/>
                  <a:gd name="T1" fmla="*/ 0 h 1909"/>
                  <a:gd name="T2" fmla="*/ 0 w 223"/>
                  <a:gd name="T3" fmla="*/ 1117 h 1909"/>
                  <a:gd name="T4" fmla="*/ 0 w 223"/>
                  <a:gd name="T5" fmla="*/ 1909 h 1909"/>
                  <a:gd name="T6" fmla="*/ 223 w 223"/>
                  <a:gd name="T7" fmla="*/ 1909 h 1909"/>
                  <a:gd name="T8" fmla="*/ 223 w 223"/>
                  <a:gd name="T9" fmla="*/ 1012 h 1909"/>
                  <a:gd name="T10" fmla="*/ 223 w 223"/>
                  <a:gd name="T11" fmla="*/ 0 h 1909"/>
                  <a:gd name="T12" fmla="*/ 0 w 223"/>
                  <a:gd name="T13" fmla="*/ 0 h 1909"/>
                </a:gdLst>
                <a:ahLst/>
                <a:cxnLst>
                  <a:cxn ang="0">
                    <a:pos x="T0" y="T1"/>
                  </a:cxn>
                  <a:cxn ang="0">
                    <a:pos x="T2" y="T3"/>
                  </a:cxn>
                  <a:cxn ang="0">
                    <a:pos x="T4" y="T5"/>
                  </a:cxn>
                  <a:cxn ang="0">
                    <a:pos x="T6" y="T7"/>
                  </a:cxn>
                  <a:cxn ang="0">
                    <a:pos x="T8" y="T9"/>
                  </a:cxn>
                  <a:cxn ang="0">
                    <a:pos x="T10" y="T11"/>
                  </a:cxn>
                  <a:cxn ang="0">
                    <a:pos x="T12" y="T13"/>
                  </a:cxn>
                </a:cxnLst>
                <a:rect l="0" t="0" r="r" b="b"/>
                <a:pathLst>
                  <a:path w="223" h="1909">
                    <a:moveTo>
                      <a:pt x="0" y="0"/>
                    </a:moveTo>
                    <a:lnTo>
                      <a:pt x="0" y="1117"/>
                    </a:lnTo>
                    <a:lnTo>
                      <a:pt x="0" y="1909"/>
                    </a:lnTo>
                    <a:lnTo>
                      <a:pt x="223" y="1909"/>
                    </a:lnTo>
                    <a:lnTo>
                      <a:pt x="223" y="1012"/>
                    </a:lnTo>
                    <a:lnTo>
                      <a:pt x="223" y="0"/>
                    </a:lnTo>
                    <a:lnTo>
                      <a:pt x="0" y="0"/>
                    </a:lnTo>
                    <a:close/>
                  </a:path>
                </a:pathLst>
              </a:custGeom>
              <a:grpFill/>
              <a:ln>
                <a:noFill/>
              </a:ln>
            </p:spPr>
            <p:txBody>
              <a:bodyPr/>
              <a:lstStyle/>
              <a:p>
                <a:pPr defTabSz="913788">
                  <a:defRPr/>
                </a:pPr>
                <a:endParaRPr lang="en-US" dirty="0">
                  <a:solidFill>
                    <a:srgbClr val="00B0F0"/>
                  </a:solidFill>
                  <a:latin typeface="Segoe UI"/>
                </a:endParaRPr>
              </a:p>
            </p:txBody>
          </p:sp>
          <p:sp>
            <p:nvSpPr>
              <p:cNvPr id="182" name="Freeform 70"/>
              <p:cNvSpPr>
                <a:spLocks/>
              </p:cNvSpPr>
              <p:nvPr/>
            </p:nvSpPr>
            <p:spPr bwMode="auto">
              <a:xfrm>
                <a:off x="4841436" y="5859354"/>
                <a:ext cx="59778" cy="174409"/>
              </a:xfrm>
              <a:custGeom>
                <a:avLst/>
                <a:gdLst>
                  <a:gd name="T0" fmla="*/ 0 w 222"/>
                  <a:gd name="T1" fmla="*/ 0 h 648"/>
                  <a:gd name="T2" fmla="*/ 0 w 222"/>
                  <a:gd name="T3" fmla="*/ 361 h 648"/>
                  <a:gd name="T4" fmla="*/ 0 w 222"/>
                  <a:gd name="T5" fmla="*/ 648 h 648"/>
                  <a:gd name="T6" fmla="*/ 222 w 222"/>
                  <a:gd name="T7" fmla="*/ 648 h 648"/>
                  <a:gd name="T8" fmla="*/ 222 w 222"/>
                  <a:gd name="T9" fmla="*/ 256 h 648"/>
                  <a:gd name="T10" fmla="*/ 222 w 222"/>
                  <a:gd name="T11" fmla="*/ 0 h 648"/>
                  <a:gd name="T12" fmla="*/ 0 w 222"/>
                  <a:gd name="T13" fmla="*/ 0 h 648"/>
                </a:gdLst>
                <a:ahLst/>
                <a:cxnLst>
                  <a:cxn ang="0">
                    <a:pos x="T0" y="T1"/>
                  </a:cxn>
                  <a:cxn ang="0">
                    <a:pos x="T2" y="T3"/>
                  </a:cxn>
                  <a:cxn ang="0">
                    <a:pos x="T4" y="T5"/>
                  </a:cxn>
                  <a:cxn ang="0">
                    <a:pos x="T6" y="T7"/>
                  </a:cxn>
                  <a:cxn ang="0">
                    <a:pos x="T8" y="T9"/>
                  </a:cxn>
                  <a:cxn ang="0">
                    <a:pos x="T10" y="T11"/>
                  </a:cxn>
                  <a:cxn ang="0">
                    <a:pos x="T12" y="T13"/>
                  </a:cxn>
                </a:cxnLst>
                <a:rect l="0" t="0" r="r" b="b"/>
                <a:pathLst>
                  <a:path w="222" h="648">
                    <a:moveTo>
                      <a:pt x="0" y="0"/>
                    </a:moveTo>
                    <a:lnTo>
                      <a:pt x="0" y="361"/>
                    </a:lnTo>
                    <a:lnTo>
                      <a:pt x="0" y="648"/>
                    </a:lnTo>
                    <a:lnTo>
                      <a:pt x="222" y="648"/>
                    </a:lnTo>
                    <a:lnTo>
                      <a:pt x="222" y="256"/>
                    </a:lnTo>
                    <a:lnTo>
                      <a:pt x="222" y="0"/>
                    </a:lnTo>
                    <a:lnTo>
                      <a:pt x="0" y="0"/>
                    </a:lnTo>
                    <a:close/>
                  </a:path>
                </a:pathLst>
              </a:custGeom>
              <a:grpFill/>
              <a:ln>
                <a:noFill/>
              </a:ln>
            </p:spPr>
            <p:txBody>
              <a:bodyPr/>
              <a:lstStyle/>
              <a:p>
                <a:pPr defTabSz="913788">
                  <a:defRPr/>
                </a:pPr>
                <a:endParaRPr lang="en-US" dirty="0">
                  <a:solidFill>
                    <a:srgbClr val="00B0F0"/>
                  </a:solidFill>
                  <a:latin typeface="Segoe UI"/>
                </a:endParaRPr>
              </a:p>
            </p:txBody>
          </p:sp>
          <p:sp>
            <p:nvSpPr>
              <p:cNvPr id="183" name="Freeform 71"/>
              <p:cNvSpPr>
                <a:spLocks/>
              </p:cNvSpPr>
              <p:nvPr/>
            </p:nvSpPr>
            <p:spPr bwMode="auto">
              <a:xfrm>
                <a:off x="4937080" y="5653888"/>
                <a:ext cx="59778" cy="379875"/>
              </a:xfrm>
              <a:custGeom>
                <a:avLst/>
                <a:gdLst>
                  <a:gd name="T0" fmla="*/ 0 w 222"/>
                  <a:gd name="T1" fmla="*/ 0 h 1402"/>
                  <a:gd name="T2" fmla="*/ 0 w 222"/>
                  <a:gd name="T3" fmla="*/ 1062 h 1402"/>
                  <a:gd name="T4" fmla="*/ 0 w 222"/>
                  <a:gd name="T5" fmla="*/ 1402 h 1402"/>
                  <a:gd name="T6" fmla="*/ 222 w 222"/>
                  <a:gd name="T7" fmla="*/ 1402 h 1402"/>
                  <a:gd name="T8" fmla="*/ 222 w 222"/>
                  <a:gd name="T9" fmla="*/ 977 h 1402"/>
                  <a:gd name="T10" fmla="*/ 222 w 222"/>
                  <a:gd name="T11" fmla="*/ 0 h 1402"/>
                  <a:gd name="T12" fmla="*/ 0 w 222"/>
                  <a:gd name="T13" fmla="*/ 0 h 1402"/>
                </a:gdLst>
                <a:ahLst/>
                <a:cxnLst>
                  <a:cxn ang="0">
                    <a:pos x="T0" y="T1"/>
                  </a:cxn>
                  <a:cxn ang="0">
                    <a:pos x="T2" y="T3"/>
                  </a:cxn>
                  <a:cxn ang="0">
                    <a:pos x="T4" y="T5"/>
                  </a:cxn>
                  <a:cxn ang="0">
                    <a:pos x="T6" y="T7"/>
                  </a:cxn>
                  <a:cxn ang="0">
                    <a:pos x="T8" y="T9"/>
                  </a:cxn>
                  <a:cxn ang="0">
                    <a:pos x="T10" y="T11"/>
                  </a:cxn>
                  <a:cxn ang="0">
                    <a:pos x="T12" y="T13"/>
                  </a:cxn>
                </a:cxnLst>
                <a:rect l="0" t="0" r="r" b="b"/>
                <a:pathLst>
                  <a:path w="222" h="1402">
                    <a:moveTo>
                      <a:pt x="0" y="0"/>
                    </a:moveTo>
                    <a:lnTo>
                      <a:pt x="0" y="1062"/>
                    </a:lnTo>
                    <a:lnTo>
                      <a:pt x="0" y="1402"/>
                    </a:lnTo>
                    <a:lnTo>
                      <a:pt x="222" y="1402"/>
                    </a:lnTo>
                    <a:lnTo>
                      <a:pt x="222" y="977"/>
                    </a:lnTo>
                    <a:lnTo>
                      <a:pt x="222" y="0"/>
                    </a:lnTo>
                    <a:lnTo>
                      <a:pt x="0" y="0"/>
                    </a:lnTo>
                    <a:close/>
                  </a:path>
                </a:pathLst>
              </a:custGeom>
              <a:grpFill/>
              <a:ln>
                <a:noFill/>
              </a:ln>
            </p:spPr>
            <p:txBody>
              <a:bodyPr/>
              <a:lstStyle/>
              <a:p>
                <a:pPr defTabSz="913788">
                  <a:defRPr/>
                </a:pPr>
                <a:endParaRPr lang="en-US" dirty="0">
                  <a:solidFill>
                    <a:srgbClr val="00B0F0"/>
                  </a:solidFill>
                  <a:latin typeface="Segoe UI"/>
                </a:endParaRPr>
              </a:p>
            </p:txBody>
          </p:sp>
          <p:sp>
            <p:nvSpPr>
              <p:cNvPr id="184" name="Freeform 72"/>
              <p:cNvSpPr>
                <a:spLocks/>
              </p:cNvSpPr>
              <p:nvPr/>
            </p:nvSpPr>
            <p:spPr bwMode="auto">
              <a:xfrm>
                <a:off x="5534857" y="5510539"/>
                <a:ext cx="258239" cy="229358"/>
              </a:xfrm>
              <a:custGeom>
                <a:avLst/>
                <a:gdLst>
                  <a:gd name="T0" fmla="*/ 0 w 401"/>
                  <a:gd name="T1" fmla="*/ 28 h 359"/>
                  <a:gd name="T2" fmla="*/ 149 w 401"/>
                  <a:gd name="T3" fmla="*/ 0 h 359"/>
                  <a:gd name="T4" fmla="*/ 401 w 401"/>
                  <a:gd name="T5" fmla="*/ 88 h 359"/>
                  <a:gd name="T6" fmla="*/ 156 w 401"/>
                  <a:gd name="T7" fmla="*/ 359 h 359"/>
                  <a:gd name="T8" fmla="*/ 0 w 401"/>
                  <a:gd name="T9" fmla="*/ 28 h 359"/>
                </a:gdLst>
                <a:ahLst/>
                <a:cxnLst>
                  <a:cxn ang="0">
                    <a:pos x="T0" y="T1"/>
                  </a:cxn>
                  <a:cxn ang="0">
                    <a:pos x="T2" y="T3"/>
                  </a:cxn>
                  <a:cxn ang="0">
                    <a:pos x="T4" y="T5"/>
                  </a:cxn>
                  <a:cxn ang="0">
                    <a:pos x="T6" y="T7"/>
                  </a:cxn>
                  <a:cxn ang="0">
                    <a:pos x="T8" y="T9"/>
                  </a:cxn>
                </a:cxnLst>
                <a:rect l="0" t="0" r="r" b="b"/>
                <a:pathLst>
                  <a:path w="401" h="359">
                    <a:moveTo>
                      <a:pt x="0" y="28"/>
                    </a:moveTo>
                    <a:cubicBezTo>
                      <a:pt x="47" y="9"/>
                      <a:pt x="97" y="0"/>
                      <a:pt x="149" y="0"/>
                    </a:cubicBezTo>
                    <a:cubicBezTo>
                      <a:pt x="241" y="0"/>
                      <a:pt x="330" y="31"/>
                      <a:pt x="401" y="88"/>
                    </a:cubicBezTo>
                    <a:cubicBezTo>
                      <a:pt x="156" y="359"/>
                      <a:pt x="156" y="359"/>
                      <a:pt x="156" y="359"/>
                    </a:cubicBezTo>
                    <a:lnTo>
                      <a:pt x="0" y="28"/>
                    </a:lnTo>
                    <a:close/>
                  </a:path>
                </a:pathLst>
              </a:custGeom>
              <a:grpFill/>
              <a:ln>
                <a:noFill/>
              </a:ln>
            </p:spPr>
            <p:txBody>
              <a:bodyPr/>
              <a:lstStyle/>
              <a:p>
                <a:pPr defTabSz="913788">
                  <a:defRPr/>
                </a:pPr>
                <a:endParaRPr lang="en-US" dirty="0">
                  <a:solidFill>
                    <a:srgbClr val="00B0F0"/>
                  </a:solidFill>
                  <a:latin typeface="Segoe UI"/>
                </a:endParaRPr>
              </a:p>
            </p:txBody>
          </p:sp>
          <p:sp>
            <p:nvSpPr>
              <p:cNvPr id="185" name="Freeform 73"/>
              <p:cNvSpPr>
                <a:spLocks/>
              </p:cNvSpPr>
              <p:nvPr/>
            </p:nvSpPr>
            <p:spPr bwMode="auto">
              <a:xfrm>
                <a:off x="5695061" y="5589382"/>
                <a:ext cx="169768" cy="138571"/>
              </a:xfrm>
              <a:custGeom>
                <a:avLst/>
                <a:gdLst>
                  <a:gd name="T0" fmla="*/ 192 w 266"/>
                  <a:gd name="T1" fmla="*/ 0 h 213"/>
                  <a:gd name="T2" fmla="*/ 266 w 266"/>
                  <a:gd name="T3" fmla="*/ 104 h 213"/>
                  <a:gd name="T4" fmla="*/ 0 w 266"/>
                  <a:gd name="T5" fmla="*/ 213 h 213"/>
                  <a:gd name="T6" fmla="*/ 192 w 266"/>
                  <a:gd name="T7" fmla="*/ 0 h 213"/>
                </a:gdLst>
                <a:ahLst/>
                <a:cxnLst>
                  <a:cxn ang="0">
                    <a:pos x="T0" y="T1"/>
                  </a:cxn>
                  <a:cxn ang="0">
                    <a:pos x="T2" y="T3"/>
                  </a:cxn>
                  <a:cxn ang="0">
                    <a:pos x="T4" y="T5"/>
                  </a:cxn>
                  <a:cxn ang="0">
                    <a:pos x="T6" y="T7"/>
                  </a:cxn>
                </a:cxnLst>
                <a:rect l="0" t="0" r="r" b="b"/>
                <a:pathLst>
                  <a:path w="266" h="213">
                    <a:moveTo>
                      <a:pt x="192" y="0"/>
                    </a:moveTo>
                    <a:cubicBezTo>
                      <a:pt x="222" y="30"/>
                      <a:pt x="247" y="66"/>
                      <a:pt x="266" y="104"/>
                    </a:cubicBezTo>
                    <a:cubicBezTo>
                      <a:pt x="0" y="213"/>
                      <a:pt x="0" y="213"/>
                      <a:pt x="0" y="213"/>
                    </a:cubicBezTo>
                    <a:lnTo>
                      <a:pt x="192" y="0"/>
                    </a:lnTo>
                    <a:close/>
                  </a:path>
                </a:pathLst>
              </a:custGeom>
              <a:grpFill/>
              <a:ln>
                <a:noFill/>
              </a:ln>
            </p:spPr>
            <p:txBody>
              <a:bodyPr/>
              <a:lstStyle/>
              <a:p>
                <a:pPr defTabSz="913788">
                  <a:defRPr/>
                </a:pPr>
                <a:endParaRPr lang="en-US" dirty="0">
                  <a:solidFill>
                    <a:srgbClr val="00B0F0"/>
                  </a:solidFill>
                  <a:latin typeface="Segoe UI"/>
                </a:endParaRPr>
              </a:p>
            </p:txBody>
          </p:sp>
          <p:sp>
            <p:nvSpPr>
              <p:cNvPr id="186" name="Freeform 74"/>
              <p:cNvSpPr>
                <a:spLocks/>
              </p:cNvSpPr>
              <p:nvPr/>
            </p:nvSpPr>
            <p:spPr bwMode="auto">
              <a:xfrm>
                <a:off x="5369871" y="5543987"/>
                <a:ext cx="239111" cy="398988"/>
              </a:xfrm>
              <a:custGeom>
                <a:avLst/>
                <a:gdLst>
                  <a:gd name="T0" fmla="*/ 99 w 375"/>
                  <a:gd name="T1" fmla="*/ 622 h 622"/>
                  <a:gd name="T2" fmla="*/ 0 w 375"/>
                  <a:gd name="T3" fmla="*/ 356 h 622"/>
                  <a:gd name="T4" fmla="*/ 210 w 375"/>
                  <a:gd name="T5" fmla="*/ 0 h 622"/>
                  <a:gd name="T6" fmla="*/ 375 w 375"/>
                  <a:gd name="T7" fmla="*/ 351 h 622"/>
                  <a:gd name="T8" fmla="*/ 99 w 375"/>
                  <a:gd name="T9" fmla="*/ 622 h 622"/>
                </a:gdLst>
                <a:ahLst/>
                <a:cxnLst>
                  <a:cxn ang="0">
                    <a:pos x="T0" y="T1"/>
                  </a:cxn>
                  <a:cxn ang="0">
                    <a:pos x="T2" y="T3"/>
                  </a:cxn>
                  <a:cxn ang="0">
                    <a:pos x="T4" y="T5"/>
                  </a:cxn>
                  <a:cxn ang="0">
                    <a:pos x="T6" y="T7"/>
                  </a:cxn>
                  <a:cxn ang="0">
                    <a:pos x="T8" y="T9"/>
                  </a:cxn>
                </a:cxnLst>
                <a:rect l="0" t="0" r="r" b="b"/>
                <a:pathLst>
                  <a:path w="375" h="622">
                    <a:moveTo>
                      <a:pt x="99" y="622"/>
                    </a:moveTo>
                    <a:cubicBezTo>
                      <a:pt x="35" y="548"/>
                      <a:pt x="0" y="455"/>
                      <a:pt x="0" y="356"/>
                    </a:cubicBezTo>
                    <a:cubicBezTo>
                      <a:pt x="0" y="208"/>
                      <a:pt x="82" y="71"/>
                      <a:pt x="210" y="0"/>
                    </a:cubicBezTo>
                    <a:cubicBezTo>
                      <a:pt x="375" y="351"/>
                      <a:pt x="375" y="351"/>
                      <a:pt x="375" y="351"/>
                    </a:cubicBezTo>
                    <a:lnTo>
                      <a:pt x="99" y="622"/>
                    </a:lnTo>
                    <a:close/>
                  </a:path>
                </a:pathLst>
              </a:custGeom>
              <a:grpFill/>
              <a:ln>
                <a:noFill/>
              </a:ln>
            </p:spPr>
            <p:txBody>
              <a:bodyPr/>
              <a:lstStyle/>
              <a:p>
                <a:pPr defTabSz="913788">
                  <a:defRPr/>
                </a:pPr>
                <a:endParaRPr lang="en-US" dirty="0">
                  <a:solidFill>
                    <a:srgbClr val="00B0F0"/>
                  </a:solidFill>
                  <a:latin typeface="Segoe UI"/>
                </a:endParaRPr>
              </a:p>
            </p:txBody>
          </p:sp>
          <p:sp>
            <p:nvSpPr>
              <p:cNvPr id="187" name="Freeform 75"/>
              <p:cNvSpPr>
                <a:spLocks/>
              </p:cNvSpPr>
              <p:nvPr/>
            </p:nvSpPr>
            <p:spPr bwMode="auto">
              <a:xfrm>
                <a:off x="5718972" y="5689726"/>
                <a:ext cx="172160" cy="64506"/>
              </a:xfrm>
              <a:custGeom>
                <a:avLst/>
                <a:gdLst>
                  <a:gd name="T0" fmla="*/ 0 w 269"/>
                  <a:gd name="T1" fmla="*/ 102 h 102"/>
                  <a:gd name="T2" fmla="*/ 249 w 269"/>
                  <a:gd name="T3" fmla="*/ 0 h 102"/>
                  <a:gd name="T4" fmla="*/ 269 w 269"/>
                  <a:gd name="T5" fmla="*/ 102 h 102"/>
                  <a:gd name="T6" fmla="*/ 0 w 269"/>
                  <a:gd name="T7" fmla="*/ 102 h 102"/>
                </a:gdLst>
                <a:ahLst/>
                <a:cxnLst>
                  <a:cxn ang="0">
                    <a:pos x="T0" y="T1"/>
                  </a:cxn>
                  <a:cxn ang="0">
                    <a:pos x="T2" y="T3"/>
                  </a:cxn>
                  <a:cxn ang="0">
                    <a:pos x="T4" y="T5"/>
                  </a:cxn>
                  <a:cxn ang="0">
                    <a:pos x="T6" y="T7"/>
                  </a:cxn>
                </a:cxnLst>
                <a:rect l="0" t="0" r="r" b="b"/>
                <a:pathLst>
                  <a:path w="269" h="102">
                    <a:moveTo>
                      <a:pt x="0" y="102"/>
                    </a:moveTo>
                    <a:cubicBezTo>
                      <a:pt x="249" y="0"/>
                      <a:pt x="249" y="0"/>
                      <a:pt x="249" y="0"/>
                    </a:cubicBezTo>
                    <a:cubicBezTo>
                      <a:pt x="260" y="33"/>
                      <a:pt x="267" y="67"/>
                      <a:pt x="269" y="102"/>
                    </a:cubicBezTo>
                    <a:lnTo>
                      <a:pt x="0" y="102"/>
                    </a:lnTo>
                    <a:close/>
                  </a:path>
                </a:pathLst>
              </a:custGeom>
              <a:grpFill/>
              <a:ln>
                <a:noFill/>
              </a:ln>
            </p:spPr>
            <p:txBody>
              <a:bodyPr/>
              <a:lstStyle/>
              <a:p>
                <a:pPr defTabSz="913788">
                  <a:defRPr/>
                </a:pPr>
                <a:endParaRPr lang="en-US" dirty="0">
                  <a:solidFill>
                    <a:srgbClr val="00B0F0"/>
                  </a:solidFill>
                  <a:latin typeface="Segoe UI"/>
                </a:endParaRPr>
              </a:p>
            </p:txBody>
          </p:sp>
          <p:sp>
            <p:nvSpPr>
              <p:cNvPr id="188" name="Freeform 76"/>
              <p:cNvSpPr>
                <a:spLocks/>
              </p:cNvSpPr>
              <p:nvPr/>
            </p:nvSpPr>
            <p:spPr bwMode="auto">
              <a:xfrm>
                <a:off x="5458341" y="5859354"/>
                <a:ext cx="107600" cy="138571"/>
              </a:xfrm>
              <a:custGeom>
                <a:avLst/>
                <a:gdLst>
                  <a:gd name="T0" fmla="*/ 62 w 171"/>
                  <a:gd name="T1" fmla="*/ 215 h 215"/>
                  <a:gd name="T2" fmla="*/ 0 w 171"/>
                  <a:gd name="T3" fmla="*/ 169 h 215"/>
                  <a:gd name="T4" fmla="*/ 171 w 171"/>
                  <a:gd name="T5" fmla="*/ 0 h 215"/>
                  <a:gd name="T6" fmla="*/ 62 w 171"/>
                  <a:gd name="T7" fmla="*/ 215 h 215"/>
                </a:gdLst>
                <a:ahLst/>
                <a:cxnLst>
                  <a:cxn ang="0">
                    <a:pos x="T0" y="T1"/>
                  </a:cxn>
                  <a:cxn ang="0">
                    <a:pos x="T2" y="T3"/>
                  </a:cxn>
                  <a:cxn ang="0">
                    <a:pos x="T4" y="T5"/>
                  </a:cxn>
                  <a:cxn ang="0">
                    <a:pos x="T6" y="T7"/>
                  </a:cxn>
                </a:cxnLst>
                <a:rect l="0" t="0" r="r" b="b"/>
                <a:pathLst>
                  <a:path w="171" h="215">
                    <a:moveTo>
                      <a:pt x="62" y="215"/>
                    </a:moveTo>
                    <a:cubicBezTo>
                      <a:pt x="40" y="201"/>
                      <a:pt x="19" y="186"/>
                      <a:pt x="0" y="169"/>
                    </a:cubicBezTo>
                    <a:cubicBezTo>
                      <a:pt x="171" y="0"/>
                      <a:pt x="171" y="0"/>
                      <a:pt x="171" y="0"/>
                    </a:cubicBezTo>
                    <a:lnTo>
                      <a:pt x="62" y="215"/>
                    </a:lnTo>
                    <a:close/>
                  </a:path>
                </a:pathLst>
              </a:custGeom>
              <a:grpFill/>
              <a:ln>
                <a:noFill/>
              </a:ln>
            </p:spPr>
            <p:txBody>
              <a:bodyPr/>
              <a:lstStyle/>
              <a:p>
                <a:pPr defTabSz="913788">
                  <a:defRPr/>
                </a:pPr>
                <a:endParaRPr lang="en-US" dirty="0">
                  <a:solidFill>
                    <a:srgbClr val="00B0F0"/>
                  </a:solidFill>
                  <a:latin typeface="Segoe UI"/>
                </a:endParaRPr>
              </a:p>
            </p:txBody>
          </p:sp>
          <p:sp>
            <p:nvSpPr>
              <p:cNvPr id="189" name="Freeform 77"/>
              <p:cNvSpPr>
                <a:spLocks/>
              </p:cNvSpPr>
              <p:nvPr/>
            </p:nvSpPr>
            <p:spPr bwMode="auto">
              <a:xfrm>
                <a:off x="5527684" y="5790070"/>
                <a:ext cx="363448" cy="243693"/>
              </a:xfrm>
              <a:custGeom>
                <a:avLst/>
                <a:gdLst>
                  <a:gd name="T0" fmla="*/ 160 w 566"/>
                  <a:gd name="T1" fmla="*/ 381 h 381"/>
                  <a:gd name="T2" fmla="*/ 0 w 566"/>
                  <a:gd name="T3" fmla="*/ 348 h 381"/>
                  <a:gd name="T4" fmla="*/ 176 w 566"/>
                  <a:gd name="T5" fmla="*/ 0 h 381"/>
                  <a:gd name="T6" fmla="*/ 566 w 566"/>
                  <a:gd name="T7" fmla="*/ 0 h 381"/>
                  <a:gd name="T8" fmla="*/ 160 w 566"/>
                  <a:gd name="T9" fmla="*/ 381 h 381"/>
                </a:gdLst>
                <a:ahLst/>
                <a:cxnLst>
                  <a:cxn ang="0">
                    <a:pos x="T0" y="T1"/>
                  </a:cxn>
                  <a:cxn ang="0">
                    <a:pos x="T2" y="T3"/>
                  </a:cxn>
                  <a:cxn ang="0">
                    <a:pos x="T4" y="T5"/>
                  </a:cxn>
                  <a:cxn ang="0">
                    <a:pos x="T6" y="T7"/>
                  </a:cxn>
                  <a:cxn ang="0">
                    <a:pos x="T8" y="T9"/>
                  </a:cxn>
                </a:cxnLst>
                <a:rect l="0" t="0" r="r" b="b"/>
                <a:pathLst>
                  <a:path w="566" h="381">
                    <a:moveTo>
                      <a:pt x="160" y="381"/>
                    </a:moveTo>
                    <a:cubicBezTo>
                      <a:pt x="104" y="381"/>
                      <a:pt x="50" y="370"/>
                      <a:pt x="0" y="348"/>
                    </a:cubicBezTo>
                    <a:cubicBezTo>
                      <a:pt x="176" y="0"/>
                      <a:pt x="176" y="0"/>
                      <a:pt x="176" y="0"/>
                    </a:cubicBezTo>
                    <a:cubicBezTo>
                      <a:pt x="566" y="0"/>
                      <a:pt x="566" y="0"/>
                      <a:pt x="566" y="0"/>
                    </a:cubicBezTo>
                    <a:cubicBezTo>
                      <a:pt x="552" y="213"/>
                      <a:pt x="375" y="381"/>
                      <a:pt x="160" y="381"/>
                    </a:cubicBezTo>
                    <a:close/>
                  </a:path>
                </a:pathLst>
              </a:custGeom>
              <a:grpFill/>
              <a:ln>
                <a:noFill/>
              </a:ln>
            </p:spPr>
            <p:txBody>
              <a:bodyPr/>
              <a:lstStyle/>
              <a:p>
                <a:pPr defTabSz="913788">
                  <a:defRPr/>
                </a:pPr>
                <a:endParaRPr lang="en-US" dirty="0">
                  <a:solidFill>
                    <a:srgbClr val="00B0F0"/>
                  </a:solidFill>
                  <a:latin typeface="Segoe UI"/>
                </a:endParaRPr>
              </a:p>
            </p:txBody>
          </p:sp>
        </p:grpSp>
      </p:grpSp>
      <p:grpSp>
        <p:nvGrpSpPr>
          <p:cNvPr id="37" name="Group 36"/>
          <p:cNvGrpSpPr/>
          <p:nvPr/>
        </p:nvGrpSpPr>
        <p:grpSpPr>
          <a:xfrm>
            <a:off x="10226757" y="4690727"/>
            <a:ext cx="1087271" cy="706407"/>
            <a:chOff x="10355354" y="2960609"/>
            <a:chExt cx="1109544" cy="720878"/>
          </a:xfrm>
        </p:grpSpPr>
        <p:grpSp>
          <p:nvGrpSpPr>
            <p:cNvPr id="34" name="Group 33"/>
            <p:cNvGrpSpPr/>
            <p:nvPr/>
          </p:nvGrpSpPr>
          <p:grpSpPr>
            <a:xfrm>
              <a:off x="10355354" y="2960609"/>
              <a:ext cx="1109544" cy="720878"/>
              <a:chOff x="10355354" y="2831936"/>
              <a:chExt cx="1307592" cy="849551"/>
            </a:xfrm>
          </p:grpSpPr>
          <p:sp>
            <p:nvSpPr>
              <p:cNvPr id="103" name="Freeform 18"/>
              <p:cNvSpPr>
                <a:spLocks/>
              </p:cNvSpPr>
              <p:nvPr/>
            </p:nvSpPr>
            <p:spPr bwMode="auto">
              <a:xfrm>
                <a:off x="10355354" y="2831936"/>
                <a:ext cx="1307592" cy="849551"/>
              </a:xfrm>
              <a:custGeom>
                <a:avLst/>
                <a:gdLst>
                  <a:gd name="T0" fmla="*/ 14 w 432"/>
                  <a:gd name="T1" fmla="*/ 278 h 278"/>
                  <a:gd name="T2" fmla="*/ 418 w 432"/>
                  <a:gd name="T3" fmla="*/ 278 h 278"/>
                  <a:gd name="T4" fmla="*/ 432 w 432"/>
                  <a:gd name="T5" fmla="*/ 263 h 278"/>
                  <a:gd name="T6" fmla="*/ 432 w 432"/>
                  <a:gd name="T7" fmla="*/ 15 h 278"/>
                  <a:gd name="T8" fmla="*/ 418 w 432"/>
                  <a:gd name="T9" fmla="*/ 0 h 278"/>
                  <a:gd name="T10" fmla="*/ 14 w 432"/>
                  <a:gd name="T11" fmla="*/ 0 h 278"/>
                  <a:gd name="T12" fmla="*/ 0 w 432"/>
                  <a:gd name="T13" fmla="*/ 15 h 278"/>
                  <a:gd name="T14" fmla="*/ 0 w 432"/>
                  <a:gd name="T15" fmla="*/ 263 h 278"/>
                  <a:gd name="T16" fmla="*/ 14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4"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4" y="0"/>
                      <a:pt x="14" y="0"/>
                      <a:pt x="14" y="0"/>
                    </a:cubicBezTo>
                    <a:cubicBezTo>
                      <a:pt x="7" y="0"/>
                      <a:pt x="0" y="6"/>
                      <a:pt x="0" y="15"/>
                    </a:cubicBezTo>
                    <a:cubicBezTo>
                      <a:pt x="0" y="263"/>
                      <a:pt x="0" y="263"/>
                      <a:pt x="0" y="263"/>
                    </a:cubicBezTo>
                    <a:cubicBezTo>
                      <a:pt x="0" y="272"/>
                      <a:pt x="7" y="278"/>
                      <a:pt x="14" y="278"/>
                    </a:cubicBezTo>
                  </a:path>
                </a:pathLst>
              </a:custGeom>
              <a:solidFill>
                <a:schemeClr val="bg1"/>
              </a:solidFill>
              <a:ln>
                <a:noFill/>
              </a:ln>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latin typeface="Segoe UI"/>
                </a:endParaRPr>
              </a:p>
            </p:txBody>
          </p:sp>
          <p:sp>
            <p:nvSpPr>
              <p:cNvPr id="104" name="Freeform 19"/>
              <p:cNvSpPr>
                <a:spLocks/>
              </p:cNvSpPr>
              <p:nvPr/>
            </p:nvSpPr>
            <p:spPr bwMode="auto">
              <a:xfrm>
                <a:off x="10412929" y="2847289"/>
                <a:ext cx="1192442" cy="742078"/>
              </a:xfrm>
              <a:custGeom>
                <a:avLst/>
                <a:gdLst>
                  <a:gd name="T0" fmla="*/ 0 w 394"/>
                  <a:gd name="T1" fmla="*/ 12 h 243"/>
                  <a:gd name="T2" fmla="*/ 394 w 394"/>
                  <a:gd name="T3" fmla="*/ 12 h 243"/>
                  <a:gd name="T4" fmla="*/ 394 w 394"/>
                  <a:gd name="T5" fmla="*/ 243 h 243"/>
                  <a:gd name="T6" fmla="*/ 0 w 394"/>
                  <a:gd name="T7" fmla="*/ 243 h 243"/>
                  <a:gd name="T8" fmla="*/ 0 w 394"/>
                  <a:gd name="T9" fmla="*/ 12 h 243"/>
                </a:gdLst>
                <a:ahLst/>
                <a:cxnLst>
                  <a:cxn ang="0">
                    <a:pos x="T0" y="T1"/>
                  </a:cxn>
                  <a:cxn ang="0">
                    <a:pos x="T2" y="T3"/>
                  </a:cxn>
                  <a:cxn ang="0">
                    <a:pos x="T4" y="T5"/>
                  </a:cxn>
                  <a:cxn ang="0">
                    <a:pos x="T6" y="T7"/>
                  </a:cxn>
                  <a:cxn ang="0">
                    <a:pos x="T8" y="T9"/>
                  </a:cxn>
                </a:cxnLst>
                <a:rect l="0" t="0" r="r" b="b"/>
                <a:pathLst>
                  <a:path w="394" h="243">
                    <a:moveTo>
                      <a:pt x="0" y="12"/>
                    </a:moveTo>
                    <a:cubicBezTo>
                      <a:pt x="394" y="12"/>
                      <a:pt x="394" y="12"/>
                      <a:pt x="394" y="12"/>
                    </a:cubicBezTo>
                    <a:cubicBezTo>
                      <a:pt x="394" y="173"/>
                      <a:pt x="394" y="243"/>
                      <a:pt x="394" y="243"/>
                    </a:cubicBezTo>
                    <a:cubicBezTo>
                      <a:pt x="0" y="243"/>
                      <a:pt x="0" y="243"/>
                      <a:pt x="0" y="243"/>
                    </a:cubicBezTo>
                    <a:cubicBezTo>
                      <a:pt x="0" y="0"/>
                      <a:pt x="0" y="12"/>
                      <a:pt x="0" y="12"/>
                    </a:cubicBezTo>
                  </a:path>
                </a:pathLst>
              </a:custGeom>
              <a:solidFill>
                <a:srgbClr val="DC3C00"/>
              </a:solidFill>
              <a:ln>
                <a:noFill/>
              </a:ln>
            </p:spPr>
            <p:txBody>
              <a:bodyPr vert="horz" wrap="square" lIns="89604" tIns="44802" rIns="89604" bIns="44802" numCol="1" anchor="t" anchorCtr="0" compatLnSpc="1">
                <a:prstTxWarp prst="textNoShape">
                  <a:avLst/>
                </a:prstTxWarp>
              </a:bodyPr>
              <a:lstStyle/>
              <a:p>
                <a:pPr defTabSz="914225"/>
                <a:endParaRPr lang="en-US" sz="1765" dirty="0">
                  <a:solidFill>
                    <a:srgbClr val="00B0F0"/>
                  </a:solidFill>
                  <a:latin typeface="Segoe UI"/>
                </a:endParaRPr>
              </a:p>
            </p:txBody>
          </p:sp>
        </p:grpSp>
        <p:grpSp>
          <p:nvGrpSpPr>
            <p:cNvPr id="271" name="Group 1031"/>
            <p:cNvGrpSpPr>
              <a:grpSpLocks/>
            </p:cNvGrpSpPr>
            <p:nvPr/>
          </p:nvGrpSpPr>
          <p:grpSpPr bwMode="auto">
            <a:xfrm>
              <a:off x="10599291" y="3157951"/>
              <a:ext cx="595154" cy="296900"/>
              <a:chOff x="4841436" y="5510539"/>
              <a:chExt cx="1049696" cy="523224"/>
            </a:xfrm>
            <a:solidFill>
              <a:schemeClr val="bg1"/>
            </a:solidFill>
          </p:grpSpPr>
          <p:sp>
            <p:nvSpPr>
              <p:cNvPr id="272" name="Freeform 67"/>
              <p:cNvSpPr>
                <a:spLocks/>
              </p:cNvSpPr>
              <p:nvPr/>
            </p:nvSpPr>
            <p:spPr bwMode="auto">
              <a:xfrm>
                <a:off x="5030334" y="5852188"/>
                <a:ext cx="59777" cy="181575"/>
              </a:xfrm>
              <a:custGeom>
                <a:avLst/>
                <a:gdLst>
                  <a:gd name="T0" fmla="*/ 0 w 222"/>
                  <a:gd name="T1" fmla="*/ 0 h 674"/>
                  <a:gd name="T2" fmla="*/ 0 w 222"/>
                  <a:gd name="T3" fmla="*/ 135 h 674"/>
                  <a:gd name="T4" fmla="*/ 0 w 222"/>
                  <a:gd name="T5" fmla="*/ 674 h 674"/>
                  <a:gd name="T6" fmla="*/ 222 w 222"/>
                  <a:gd name="T7" fmla="*/ 674 h 674"/>
                  <a:gd name="T8" fmla="*/ 222 w 222"/>
                  <a:gd name="T9" fmla="*/ 29 h 674"/>
                  <a:gd name="T10" fmla="*/ 222 w 222"/>
                  <a:gd name="T11" fmla="*/ 0 h 674"/>
                  <a:gd name="T12" fmla="*/ 0 w 222"/>
                  <a:gd name="T13" fmla="*/ 0 h 674"/>
                </a:gdLst>
                <a:ahLst/>
                <a:cxnLst>
                  <a:cxn ang="0">
                    <a:pos x="T0" y="T1"/>
                  </a:cxn>
                  <a:cxn ang="0">
                    <a:pos x="T2" y="T3"/>
                  </a:cxn>
                  <a:cxn ang="0">
                    <a:pos x="T4" y="T5"/>
                  </a:cxn>
                  <a:cxn ang="0">
                    <a:pos x="T6" y="T7"/>
                  </a:cxn>
                  <a:cxn ang="0">
                    <a:pos x="T8" y="T9"/>
                  </a:cxn>
                  <a:cxn ang="0">
                    <a:pos x="T10" y="T11"/>
                  </a:cxn>
                  <a:cxn ang="0">
                    <a:pos x="T12" y="T13"/>
                  </a:cxn>
                </a:cxnLst>
                <a:rect l="0" t="0" r="r" b="b"/>
                <a:pathLst>
                  <a:path w="222" h="674">
                    <a:moveTo>
                      <a:pt x="0" y="0"/>
                    </a:moveTo>
                    <a:lnTo>
                      <a:pt x="0" y="135"/>
                    </a:lnTo>
                    <a:lnTo>
                      <a:pt x="0" y="674"/>
                    </a:lnTo>
                    <a:lnTo>
                      <a:pt x="222" y="674"/>
                    </a:lnTo>
                    <a:lnTo>
                      <a:pt x="222" y="29"/>
                    </a:lnTo>
                    <a:lnTo>
                      <a:pt x="222" y="0"/>
                    </a:lnTo>
                    <a:lnTo>
                      <a:pt x="0" y="0"/>
                    </a:lnTo>
                    <a:close/>
                  </a:path>
                </a:pathLst>
              </a:custGeom>
              <a:grpFill/>
              <a:ln>
                <a:noFill/>
              </a:ln>
            </p:spPr>
            <p:txBody>
              <a:bodyPr/>
              <a:lstStyle/>
              <a:p>
                <a:pPr defTabSz="913788">
                  <a:defRPr/>
                </a:pPr>
                <a:endParaRPr lang="en-US" dirty="0">
                  <a:solidFill>
                    <a:srgbClr val="00B0F0"/>
                  </a:solidFill>
                  <a:latin typeface="Segoe UI"/>
                </a:endParaRPr>
              </a:p>
            </p:txBody>
          </p:sp>
          <p:sp>
            <p:nvSpPr>
              <p:cNvPr id="273" name="Freeform 68"/>
              <p:cNvSpPr>
                <a:spLocks/>
              </p:cNvSpPr>
              <p:nvPr/>
            </p:nvSpPr>
            <p:spPr bwMode="auto">
              <a:xfrm>
                <a:off x="5125978" y="5677779"/>
                <a:ext cx="59777" cy="355984"/>
              </a:xfrm>
              <a:custGeom>
                <a:avLst/>
                <a:gdLst>
                  <a:gd name="T0" fmla="*/ 0 w 223"/>
                  <a:gd name="T1" fmla="*/ 0 h 1319"/>
                  <a:gd name="T2" fmla="*/ 0 w 223"/>
                  <a:gd name="T3" fmla="*/ 652 h 1319"/>
                  <a:gd name="T4" fmla="*/ 0 w 223"/>
                  <a:gd name="T5" fmla="*/ 1319 h 1319"/>
                  <a:gd name="T6" fmla="*/ 223 w 223"/>
                  <a:gd name="T7" fmla="*/ 1319 h 1319"/>
                  <a:gd name="T8" fmla="*/ 223 w 223"/>
                  <a:gd name="T9" fmla="*/ 548 h 1319"/>
                  <a:gd name="T10" fmla="*/ 223 w 223"/>
                  <a:gd name="T11" fmla="*/ 0 h 1319"/>
                  <a:gd name="T12" fmla="*/ 0 w 223"/>
                  <a:gd name="T13" fmla="*/ 0 h 1319"/>
                </a:gdLst>
                <a:ahLst/>
                <a:cxnLst>
                  <a:cxn ang="0">
                    <a:pos x="T0" y="T1"/>
                  </a:cxn>
                  <a:cxn ang="0">
                    <a:pos x="T2" y="T3"/>
                  </a:cxn>
                  <a:cxn ang="0">
                    <a:pos x="T4" y="T5"/>
                  </a:cxn>
                  <a:cxn ang="0">
                    <a:pos x="T6" y="T7"/>
                  </a:cxn>
                  <a:cxn ang="0">
                    <a:pos x="T8" y="T9"/>
                  </a:cxn>
                  <a:cxn ang="0">
                    <a:pos x="T10" y="T11"/>
                  </a:cxn>
                  <a:cxn ang="0">
                    <a:pos x="T12" y="T13"/>
                  </a:cxn>
                </a:cxnLst>
                <a:rect l="0" t="0" r="r" b="b"/>
                <a:pathLst>
                  <a:path w="223" h="1319">
                    <a:moveTo>
                      <a:pt x="0" y="0"/>
                    </a:moveTo>
                    <a:lnTo>
                      <a:pt x="0" y="652"/>
                    </a:lnTo>
                    <a:lnTo>
                      <a:pt x="0" y="1319"/>
                    </a:lnTo>
                    <a:lnTo>
                      <a:pt x="223" y="1319"/>
                    </a:lnTo>
                    <a:lnTo>
                      <a:pt x="223" y="548"/>
                    </a:lnTo>
                    <a:lnTo>
                      <a:pt x="223" y="0"/>
                    </a:lnTo>
                    <a:lnTo>
                      <a:pt x="0" y="0"/>
                    </a:lnTo>
                    <a:close/>
                  </a:path>
                </a:pathLst>
              </a:custGeom>
              <a:grpFill/>
              <a:ln>
                <a:noFill/>
              </a:ln>
            </p:spPr>
            <p:txBody>
              <a:bodyPr/>
              <a:lstStyle/>
              <a:p>
                <a:pPr defTabSz="913788">
                  <a:defRPr/>
                </a:pPr>
                <a:endParaRPr lang="en-US" dirty="0">
                  <a:solidFill>
                    <a:srgbClr val="00B0F0"/>
                  </a:solidFill>
                  <a:latin typeface="Segoe UI"/>
                </a:endParaRPr>
              </a:p>
            </p:txBody>
          </p:sp>
          <p:sp>
            <p:nvSpPr>
              <p:cNvPr id="274" name="Freeform 69"/>
              <p:cNvSpPr>
                <a:spLocks/>
              </p:cNvSpPr>
              <p:nvPr/>
            </p:nvSpPr>
            <p:spPr bwMode="auto">
              <a:xfrm>
                <a:off x="5219231" y="5517707"/>
                <a:ext cx="62169" cy="516056"/>
              </a:xfrm>
              <a:custGeom>
                <a:avLst/>
                <a:gdLst>
                  <a:gd name="T0" fmla="*/ 0 w 223"/>
                  <a:gd name="T1" fmla="*/ 0 h 1909"/>
                  <a:gd name="T2" fmla="*/ 0 w 223"/>
                  <a:gd name="T3" fmla="*/ 1117 h 1909"/>
                  <a:gd name="T4" fmla="*/ 0 w 223"/>
                  <a:gd name="T5" fmla="*/ 1909 h 1909"/>
                  <a:gd name="T6" fmla="*/ 223 w 223"/>
                  <a:gd name="T7" fmla="*/ 1909 h 1909"/>
                  <a:gd name="T8" fmla="*/ 223 w 223"/>
                  <a:gd name="T9" fmla="*/ 1012 h 1909"/>
                  <a:gd name="T10" fmla="*/ 223 w 223"/>
                  <a:gd name="T11" fmla="*/ 0 h 1909"/>
                  <a:gd name="T12" fmla="*/ 0 w 223"/>
                  <a:gd name="T13" fmla="*/ 0 h 1909"/>
                </a:gdLst>
                <a:ahLst/>
                <a:cxnLst>
                  <a:cxn ang="0">
                    <a:pos x="T0" y="T1"/>
                  </a:cxn>
                  <a:cxn ang="0">
                    <a:pos x="T2" y="T3"/>
                  </a:cxn>
                  <a:cxn ang="0">
                    <a:pos x="T4" y="T5"/>
                  </a:cxn>
                  <a:cxn ang="0">
                    <a:pos x="T6" y="T7"/>
                  </a:cxn>
                  <a:cxn ang="0">
                    <a:pos x="T8" y="T9"/>
                  </a:cxn>
                  <a:cxn ang="0">
                    <a:pos x="T10" y="T11"/>
                  </a:cxn>
                  <a:cxn ang="0">
                    <a:pos x="T12" y="T13"/>
                  </a:cxn>
                </a:cxnLst>
                <a:rect l="0" t="0" r="r" b="b"/>
                <a:pathLst>
                  <a:path w="223" h="1909">
                    <a:moveTo>
                      <a:pt x="0" y="0"/>
                    </a:moveTo>
                    <a:lnTo>
                      <a:pt x="0" y="1117"/>
                    </a:lnTo>
                    <a:lnTo>
                      <a:pt x="0" y="1909"/>
                    </a:lnTo>
                    <a:lnTo>
                      <a:pt x="223" y="1909"/>
                    </a:lnTo>
                    <a:lnTo>
                      <a:pt x="223" y="1012"/>
                    </a:lnTo>
                    <a:lnTo>
                      <a:pt x="223" y="0"/>
                    </a:lnTo>
                    <a:lnTo>
                      <a:pt x="0" y="0"/>
                    </a:lnTo>
                    <a:close/>
                  </a:path>
                </a:pathLst>
              </a:custGeom>
              <a:grpFill/>
              <a:ln>
                <a:noFill/>
              </a:ln>
            </p:spPr>
            <p:txBody>
              <a:bodyPr/>
              <a:lstStyle/>
              <a:p>
                <a:pPr defTabSz="913788">
                  <a:defRPr/>
                </a:pPr>
                <a:endParaRPr lang="en-US" dirty="0">
                  <a:solidFill>
                    <a:srgbClr val="00B0F0"/>
                  </a:solidFill>
                  <a:latin typeface="Segoe UI"/>
                </a:endParaRPr>
              </a:p>
            </p:txBody>
          </p:sp>
          <p:sp>
            <p:nvSpPr>
              <p:cNvPr id="275" name="Freeform 70"/>
              <p:cNvSpPr>
                <a:spLocks/>
              </p:cNvSpPr>
              <p:nvPr/>
            </p:nvSpPr>
            <p:spPr bwMode="auto">
              <a:xfrm>
                <a:off x="4841436" y="5859354"/>
                <a:ext cx="59778" cy="174409"/>
              </a:xfrm>
              <a:custGeom>
                <a:avLst/>
                <a:gdLst>
                  <a:gd name="T0" fmla="*/ 0 w 222"/>
                  <a:gd name="T1" fmla="*/ 0 h 648"/>
                  <a:gd name="T2" fmla="*/ 0 w 222"/>
                  <a:gd name="T3" fmla="*/ 361 h 648"/>
                  <a:gd name="T4" fmla="*/ 0 w 222"/>
                  <a:gd name="T5" fmla="*/ 648 h 648"/>
                  <a:gd name="T6" fmla="*/ 222 w 222"/>
                  <a:gd name="T7" fmla="*/ 648 h 648"/>
                  <a:gd name="T8" fmla="*/ 222 w 222"/>
                  <a:gd name="T9" fmla="*/ 256 h 648"/>
                  <a:gd name="T10" fmla="*/ 222 w 222"/>
                  <a:gd name="T11" fmla="*/ 0 h 648"/>
                  <a:gd name="T12" fmla="*/ 0 w 222"/>
                  <a:gd name="T13" fmla="*/ 0 h 648"/>
                </a:gdLst>
                <a:ahLst/>
                <a:cxnLst>
                  <a:cxn ang="0">
                    <a:pos x="T0" y="T1"/>
                  </a:cxn>
                  <a:cxn ang="0">
                    <a:pos x="T2" y="T3"/>
                  </a:cxn>
                  <a:cxn ang="0">
                    <a:pos x="T4" y="T5"/>
                  </a:cxn>
                  <a:cxn ang="0">
                    <a:pos x="T6" y="T7"/>
                  </a:cxn>
                  <a:cxn ang="0">
                    <a:pos x="T8" y="T9"/>
                  </a:cxn>
                  <a:cxn ang="0">
                    <a:pos x="T10" y="T11"/>
                  </a:cxn>
                  <a:cxn ang="0">
                    <a:pos x="T12" y="T13"/>
                  </a:cxn>
                </a:cxnLst>
                <a:rect l="0" t="0" r="r" b="b"/>
                <a:pathLst>
                  <a:path w="222" h="648">
                    <a:moveTo>
                      <a:pt x="0" y="0"/>
                    </a:moveTo>
                    <a:lnTo>
                      <a:pt x="0" y="361"/>
                    </a:lnTo>
                    <a:lnTo>
                      <a:pt x="0" y="648"/>
                    </a:lnTo>
                    <a:lnTo>
                      <a:pt x="222" y="648"/>
                    </a:lnTo>
                    <a:lnTo>
                      <a:pt x="222" y="256"/>
                    </a:lnTo>
                    <a:lnTo>
                      <a:pt x="222" y="0"/>
                    </a:lnTo>
                    <a:lnTo>
                      <a:pt x="0" y="0"/>
                    </a:lnTo>
                    <a:close/>
                  </a:path>
                </a:pathLst>
              </a:custGeom>
              <a:grpFill/>
              <a:ln>
                <a:noFill/>
              </a:ln>
            </p:spPr>
            <p:txBody>
              <a:bodyPr/>
              <a:lstStyle/>
              <a:p>
                <a:pPr defTabSz="913788">
                  <a:defRPr/>
                </a:pPr>
                <a:endParaRPr lang="en-US" dirty="0">
                  <a:solidFill>
                    <a:srgbClr val="00B0F0"/>
                  </a:solidFill>
                  <a:latin typeface="Segoe UI"/>
                </a:endParaRPr>
              </a:p>
            </p:txBody>
          </p:sp>
          <p:sp>
            <p:nvSpPr>
              <p:cNvPr id="276" name="Freeform 71"/>
              <p:cNvSpPr>
                <a:spLocks/>
              </p:cNvSpPr>
              <p:nvPr/>
            </p:nvSpPr>
            <p:spPr bwMode="auto">
              <a:xfrm>
                <a:off x="4937080" y="5653888"/>
                <a:ext cx="59778" cy="379875"/>
              </a:xfrm>
              <a:custGeom>
                <a:avLst/>
                <a:gdLst>
                  <a:gd name="T0" fmla="*/ 0 w 222"/>
                  <a:gd name="T1" fmla="*/ 0 h 1402"/>
                  <a:gd name="T2" fmla="*/ 0 w 222"/>
                  <a:gd name="T3" fmla="*/ 1062 h 1402"/>
                  <a:gd name="T4" fmla="*/ 0 w 222"/>
                  <a:gd name="T5" fmla="*/ 1402 h 1402"/>
                  <a:gd name="T6" fmla="*/ 222 w 222"/>
                  <a:gd name="T7" fmla="*/ 1402 h 1402"/>
                  <a:gd name="T8" fmla="*/ 222 w 222"/>
                  <a:gd name="T9" fmla="*/ 977 h 1402"/>
                  <a:gd name="T10" fmla="*/ 222 w 222"/>
                  <a:gd name="T11" fmla="*/ 0 h 1402"/>
                  <a:gd name="T12" fmla="*/ 0 w 222"/>
                  <a:gd name="T13" fmla="*/ 0 h 1402"/>
                </a:gdLst>
                <a:ahLst/>
                <a:cxnLst>
                  <a:cxn ang="0">
                    <a:pos x="T0" y="T1"/>
                  </a:cxn>
                  <a:cxn ang="0">
                    <a:pos x="T2" y="T3"/>
                  </a:cxn>
                  <a:cxn ang="0">
                    <a:pos x="T4" y="T5"/>
                  </a:cxn>
                  <a:cxn ang="0">
                    <a:pos x="T6" y="T7"/>
                  </a:cxn>
                  <a:cxn ang="0">
                    <a:pos x="T8" y="T9"/>
                  </a:cxn>
                  <a:cxn ang="0">
                    <a:pos x="T10" y="T11"/>
                  </a:cxn>
                  <a:cxn ang="0">
                    <a:pos x="T12" y="T13"/>
                  </a:cxn>
                </a:cxnLst>
                <a:rect l="0" t="0" r="r" b="b"/>
                <a:pathLst>
                  <a:path w="222" h="1402">
                    <a:moveTo>
                      <a:pt x="0" y="0"/>
                    </a:moveTo>
                    <a:lnTo>
                      <a:pt x="0" y="1062"/>
                    </a:lnTo>
                    <a:lnTo>
                      <a:pt x="0" y="1402"/>
                    </a:lnTo>
                    <a:lnTo>
                      <a:pt x="222" y="1402"/>
                    </a:lnTo>
                    <a:lnTo>
                      <a:pt x="222" y="977"/>
                    </a:lnTo>
                    <a:lnTo>
                      <a:pt x="222" y="0"/>
                    </a:lnTo>
                    <a:lnTo>
                      <a:pt x="0" y="0"/>
                    </a:lnTo>
                    <a:close/>
                  </a:path>
                </a:pathLst>
              </a:custGeom>
              <a:grpFill/>
              <a:ln>
                <a:noFill/>
              </a:ln>
            </p:spPr>
            <p:txBody>
              <a:bodyPr/>
              <a:lstStyle/>
              <a:p>
                <a:pPr defTabSz="913788">
                  <a:defRPr/>
                </a:pPr>
                <a:endParaRPr lang="en-US" dirty="0">
                  <a:solidFill>
                    <a:srgbClr val="00B0F0"/>
                  </a:solidFill>
                  <a:latin typeface="Segoe UI"/>
                </a:endParaRPr>
              </a:p>
            </p:txBody>
          </p:sp>
          <p:sp>
            <p:nvSpPr>
              <p:cNvPr id="277" name="Freeform 72"/>
              <p:cNvSpPr>
                <a:spLocks/>
              </p:cNvSpPr>
              <p:nvPr/>
            </p:nvSpPr>
            <p:spPr bwMode="auto">
              <a:xfrm>
                <a:off x="5534857" y="5510539"/>
                <a:ext cx="258239" cy="229358"/>
              </a:xfrm>
              <a:custGeom>
                <a:avLst/>
                <a:gdLst>
                  <a:gd name="T0" fmla="*/ 0 w 401"/>
                  <a:gd name="T1" fmla="*/ 28 h 359"/>
                  <a:gd name="T2" fmla="*/ 149 w 401"/>
                  <a:gd name="T3" fmla="*/ 0 h 359"/>
                  <a:gd name="T4" fmla="*/ 401 w 401"/>
                  <a:gd name="T5" fmla="*/ 88 h 359"/>
                  <a:gd name="T6" fmla="*/ 156 w 401"/>
                  <a:gd name="T7" fmla="*/ 359 h 359"/>
                  <a:gd name="T8" fmla="*/ 0 w 401"/>
                  <a:gd name="T9" fmla="*/ 28 h 359"/>
                </a:gdLst>
                <a:ahLst/>
                <a:cxnLst>
                  <a:cxn ang="0">
                    <a:pos x="T0" y="T1"/>
                  </a:cxn>
                  <a:cxn ang="0">
                    <a:pos x="T2" y="T3"/>
                  </a:cxn>
                  <a:cxn ang="0">
                    <a:pos x="T4" y="T5"/>
                  </a:cxn>
                  <a:cxn ang="0">
                    <a:pos x="T6" y="T7"/>
                  </a:cxn>
                  <a:cxn ang="0">
                    <a:pos x="T8" y="T9"/>
                  </a:cxn>
                </a:cxnLst>
                <a:rect l="0" t="0" r="r" b="b"/>
                <a:pathLst>
                  <a:path w="401" h="359">
                    <a:moveTo>
                      <a:pt x="0" y="28"/>
                    </a:moveTo>
                    <a:cubicBezTo>
                      <a:pt x="47" y="9"/>
                      <a:pt x="97" y="0"/>
                      <a:pt x="149" y="0"/>
                    </a:cubicBezTo>
                    <a:cubicBezTo>
                      <a:pt x="241" y="0"/>
                      <a:pt x="330" y="31"/>
                      <a:pt x="401" y="88"/>
                    </a:cubicBezTo>
                    <a:cubicBezTo>
                      <a:pt x="156" y="359"/>
                      <a:pt x="156" y="359"/>
                      <a:pt x="156" y="359"/>
                    </a:cubicBezTo>
                    <a:lnTo>
                      <a:pt x="0" y="28"/>
                    </a:lnTo>
                    <a:close/>
                  </a:path>
                </a:pathLst>
              </a:custGeom>
              <a:grpFill/>
              <a:ln>
                <a:noFill/>
              </a:ln>
            </p:spPr>
            <p:txBody>
              <a:bodyPr/>
              <a:lstStyle/>
              <a:p>
                <a:pPr defTabSz="913788">
                  <a:defRPr/>
                </a:pPr>
                <a:endParaRPr lang="en-US" dirty="0">
                  <a:solidFill>
                    <a:srgbClr val="00B0F0"/>
                  </a:solidFill>
                  <a:latin typeface="Segoe UI"/>
                </a:endParaRPr>
              </a:p>
            </p:txBody>
          </p:sp>
          <p:sp>
            <p:nvSpPr>
              <p:cNvPr id="278" name="Freeform 73"/>
              <p:cNvSpPr>
                <a:spLocks/>
              </p:cNvSpPr>
              <p:nvPr/>
            </p:nvSpPr>
            <p:spPr bwMode="auto">
              <a:xfrm>
                <a:off x="5695061" y="5589382"/>
                <a:ext cx="169768" cy="138571"/>
              </a:xfrm>
              <a:custGeom>
                <a:avLst/>
                <a:gdLst>
                  <a:gd name="T0" fmla="*/ 192 w 266"/>
                  <a:gd name="T1" fmla="*/ 0 h 213"/>
                  <a:gd name="T2" fmla="*/ 266 w 266"/>
                  <a:gd name="T3" fmla="*/ 104 h 213"/>
                  <a:gd name="T4" fmla="*/ 0 w 266"/>
                  <a:gd name="T5" fmla="*/ 213 h 213"/>
                  <a:gd name="T6" fmla="*/ 192 w 266"/>
                  <a:gd name="T7" fmla="*/ 0 h 213"/>
                </a:gdLst>
                <a:ahLst/>
                <a:cxnLst>
                  <a:cxn ang="0">
                    <a:pos x="T0" y="T1"/>
                  </a:cxn>
                  <a:cxn ang="0">
                    <a:pos x="T2" y="T3"/>
                  </a:cxn>
                  <a:cxn ang="0">
                    <a:pos x="T4" y="T5"/>
                  </a:cxn>
                  <a:cxn ang="0">
                    <a:pos x="T6" y="T7"/>
                  </a:cxn>
                </a:cxnLst>
                <a:rect l="0" t="0" r="r" b="b"/>
                <a:pathLst>
                  <a:path w="266" h="213">
                    <a:moveTo>
                      <a:pt x="192" y="0"/>
                    </a:moveTo>
                    <a:cubicBezTo>
                      <a:pt x="222" y="30"/>
                      <a:pt x="247" y="66"/>
                      <a:pt x="266" y="104"/>
                    </a:cubicBezTo>
                    <a:cubicBezTo>
                      <a:pt x="0" y="213"/>
                      <a:pt x="0" y="213"/>
                      <a:pt x="0" y="213"/>
                    </a:cubicBezTo>
                    <a:lnTo>
                      <a:pt x="192" y="0"/>
                    </a:lnTo>
                    <a:close/>
                  </a:path>
                </a:pathLst>
              </a:custGeom>
              <a:grpFill/>
              <a:ln>
                <a:noFill/>
              </a:ln>
            </p:spPr>
            <p:txBody>
              <a:bodyPr/>
              <a:lstStyle/>
              <a:p>
                <a:pPr defTabSz="913788">
                  <a:defRPr/>
                </a:pPr>
                <a:endParaRPr lang="en-US" dirty="0">
                  <a:solidFill>
                    <a:srgbClr val="00B0F0"/>
                  </a:solidFill>
                  <a:latin typeface="Segoe UI"/>
                </a:endParaRPr>
              </a:p>
            </p:txBody>
          </p:sp>
          <p:sp>
            <p:nvSpPr>
              <p:cNvPr id="279" name="Freeform 74"/>
              <p:cNvSpPr>
                <a:spLocks/>
              </p:cNvSpPr>
              <p:nvPr/>
            </p:nvSpPr>
            <p:spPr bwMode="auto">
              <a:xfrm>
                <a:off x="5369871" y="5543987"/>
                <a:ext cx="239111" cy="398988"/>
              </a:xfrm>
              <a:custGeom>
                <a:avLst/>
                <a:gdLst>
                  <a:gd name="T0" fmla="*/ 99 w 375"/>
                  <a:gd name="T1" fmla="*/ 622 h 622"/>
                  <a:gd name="T2" fmla="*/ 0 w 375"/>
                  <a:gd name="T3" fmla="*/ 356 h 622"/>
                  <a:gd name="T4" fmla="*/ 210 w 375"/>
                  <a:gd name="T5" fmla="*/ 0 h 622"/>
                  <a:gd name="T6" fmla="*/ 375 w 375"/>
                  <a:gd name="T7" fmla="*/ 351 h 622"/>
                  <a:gd name="T8" fmla="*/ 99 w 375"/>
                  <a:gd name="T9" fmla="*/ 622 h 622"/>
                </a:gdLst>
                <a:ahLst/>
                <a:cxnLst>
                  <a:cxn ang="0">
                    <a:pos x="T0" y="T1"/>
                  </a:cxn>
                  <a:cxn ang="0">
                    <a:pos x="T2" y="T3"/>
                  </a:cxn>
                  <a:cxn ang="0">
                    <a:pos x="T4" y="T5"/>
                  </a:cxn>
                  <a:cxn ang="0">
                    <a:pos x="T6" y="T7"/>
                  </a:cxn>
                  <a:cxn ang="0">
                    <a:pos x="T8" y="T9"/>
                  </a:cxn>
                </a:cxnLst>
                <a:rect l="0" t="0" r="r" b="b"/>
                <a:pathLst>
                  <a:path w="375" h="622">
                    <a:moveTo>
                      <a:pt x="99" y="622"/>
                    </a:moveTo>
                    <a:cubicBezTo>
                      <a:pt x="35" y="548"/>
                      <a:pt x="0" y="455"/>
                      <a:pt x="0" y="356"/>
                    </a:cubicBezTo>
                    <a:cubicBezTo>
                      <a:pt x="0" y="208"/>
                      <a:pt x="82" y="71"/>
                      <a:pt x="210" y="0"/>
                    </a:cubicBezTo>
                    <a:cubicBezTo>
                      <a:pt x="375" y="351"/>
                      <a:pt x="375" y="351"/>
                      <a:pt x="375" y="351"/>
                    </a:cubicBezTo>
                    <a:lnTo>
                      <a:pt x="99" y="622"/>
                    </a:lnTo>
                    <a:close/>
                  </a:path>
                </a:pathLst>
              </a:custGeom>
              <a:grpFill/>
              <a:ln>
                <a:noFill/>
              </a:ln>
            </p:spPr>
            <p:txBody>
              <a:bodyPr/>
              <a:lstStyle/>
              <a:p>
                <a:pPr defTabSz="913788">
                  <a:defRPr/>
                </a:pPr>
                <a:endParaRPr lang="en-US" dirty="0">
                  <a:solidFill>
                    <a:srgbClr val="00B0F0"/>
                  </a:solidFill>
                  <a:latin typeface="Segoe UI"/>
                </a:endParaRPr>
              </a:p>
            </p:txBody>
          </p:sp>
          <p:sp>
            <p:nvSpPr>
              <p:cNvPr id="280" name="Freeform 75"/>
              <p:cNvSpPr>
                <a:spLocks/>
              </p:cNvSpPr>
              <p:nvPr/>
            </p:nvSpPr>
            <p:spPr bwMode="auto">
              <a:xfrm>
                <a:off x="5718972" y="5689726"/>
                <a:ext cx="172160" cy="64506"/>
              </a:xfrm>
              <a:custGeom>
                <a:avLst/>
                <a:gdLst>
                  <a:gd name="T0" fmla="*/ 0 w 269"/>
                  <a:gd name="T1" fmla="*/ 102 h 102"/>
                  <a:gd name="T2" fmla="*/ 249 w 269"/>
                  <a:gd name="T3" fmla="*/ 0 h 102"/>
                  <a:gd name="T4" fmla="*/ 269 w 269"/>
                  <a:gd name="T5" fmla="*/ 102 h 102"/>
                  <a:gd name="T6" fmla="*/ 0 w 269"/>
                  <a:gd name="T7" fmla="*/ 102 h 102"/>
                </a:gdLst>
                <a:ahLst/>
                <a:cxnLst>
                  <a:cxn ang="0">
                    <a:pos x="T0" y="T1"/>
                  </a:cxn>
                  <a:cxn ang="0">
                    <a:pos x="T2" y="T3"/>
                  </a:cxn>
                  <a:cxn ang="0">
                    <a:pos x="T4" y="T5"/>
                  </a:cxn>
                  <a:cxn ang="0">
                    <a:pos x="T6" y="T7"/>
                  </a:cxn>
                </a:cxnLst>
                <a:rect l="0" t="0" r="r" b="b"/>
                <a:pathLst>
                  <a:path w="269" h="102">
                    <a:moveTo>
                      <a:pt x="0" y="102"/>
                    </a:moveTo>
                    <a:cubicBezTo>
                      <a:pt x="249" y="0"/>
                      <a:pt x="249" y="0"/>
                      <a:pt x="249" y="0"/>
                    </a:cubicBezTo>
                    <a:cubicBezTo>
                      <a:pt x="260" y="33"/>
                      <a:pt x="267" y="67"/>
                      <a:pt x="269" y="102"/>
                    </a:cubicBezTo>
                    <a:lnTo>
                      <a:pt x="0" y="102"/>
                    </a:lnTo>
                    <a:close/>
                  </a:path>
                </a:pathLst>
              </a:custGeom>
              <a:grpFill/>
              <a:ln>
                <a:noFill/>
              </a:ln>
            </p:spPr>
            <p:txBody>
              <a:bodyPr/>
              <a:lstStyle/>
              <a:p>
                <a:pPr defTabSz="913788">
                  <a:defRPr/>
                </a:pPr>
                <a:endParaRPr lang="en-US" dirty="0">
                  <a:solidFill>
                    <a:srgbClr val="00B0F0"/>
                  </a:solidFill>
                  <a:latin typeface="Segoe UI"/>
                </a:endParaRPr>
              </a:p>
            </p:txBody>
          </p:sp>
          <p:sp>
            <p:nvSpPr>
              <p:cNvPr id="281" name="Freeform 76"/>
              <p:cNvSpPr>
                <a:spLocks/>
              </p:cNvSpPr>
              <p:nvPr/>
            </p:nvSpPr>
            <p:spPr bwMode="auto">
              <a:xfrm>
                <a:off x="5458341" y="5859354"/>
                <a:ext cx="107600" cy="138571"/>
              </a:xfrm>
              <a:custGeom>
                <a:avLst/>
                <a:gdLst>
                  <a:gd name="T0" fmla="*/ 62 w 171"/>
                  <a:gd name="T1" fmla="*/ 215 h 215"/>
                  <a:gd name="T2" fmla="*/ 0 w 171"/>
                  <a:gd name="T3" fmla="*/ 169 h 215"/>
                  <a:gd name="T4" fmla="*/ 171 w 171"/>
                  <a:gd name="T5" fmla="*/ 0 h 215"/>
                  <a:gd name="T6" fmla="*/ 62 w 171"/>
                  <a:gd name="T7" fmla="*/ 215 h 215"/>
                </a:gdLst>
                <a:ahLst/>
                <a:cxnLst>
                  <a:cxn ang="0">
                    <a:pos x="T0" y="T1"/>
                  </a:cxn>
                  <a:cxn ang="0">
                    <a:pos x="T2" y="T3"/>
                  </a:cxn>
                  <a:cxn ang="0">
                    <a:pos x="T4" y="T5"/>
                  </a:cxn>
                  <a:cxn ang="0">
                    <a:pos x="T6" y="T7"/>
                  </a:cxn>
                </a:cxnLst>
                <a:rect l="0" t="0" r="r" b="b"/>
                <a:pathLst>
                  <a:path w="171" h="215">
                    <a:moveTo>
                      <a:pt x="62" y="215"/>
                    </a:moveTo>
                    <a:cubicBezTo>
                      <a:pt x="40" y="201"/>
                      <a:pt x="19" y="186"/>
                      <a:pt x="0" y="169"/>
                    </a:cubicBezTo>
                    <a:cubicBezTo>
                      <a:pt x="171" y="0"/>
                      <a:pt x="171" y="0"/>
                      <a:pt x="171" y="0"/>
                    </a:cubicBezTo>
                    <a:lnTo>
                      <a:pt x="62" y="215"/>
                    </a:lnTo>
                    <a:close/>
                  </a:path>
                </a:pathLst>
              </a:custGeom>
              <a:grpFill/>
              <a:ln>
                <a:noFill/>
              </a:ln>
            </p:spPr>
            <p:txBody>
              <a:bodyPr/>
              <a:lstStyle/>
              <a:p>
                <a:pPr defTabSz="913788">
                  <a:defRPr/>
                </a:pPr>
                <a:endParaRPr lang="en-US" dirty="0">
                  <a:solidFill>
                    <a:srgbClr val="00B0F0"/>
                  </a:solidFill>
                  <a:latin typeface="Segoe UI"/>
                </a:endParaRPr>
              </a:p>
            </p:txBody>
          </p:sp>
          <p:sp>
            <p:nvSpPr>
              <p:cNvPr id="282" name="Freeform 77"/>
              <p:cNvSpPr>
                <a:spLocks/>
              </p:cNvSpPr>
              <p:nvPr/>
            </p:nvSpPr>
            <p:spPr bwMode="auto">
              <a:xfrm>
                <a:off x="5527684" y="5790070"/>
                <a:ext cx="363448" cy="243693"/>
              </a:xfrm>
              <a:custGeom>
                <a:avLst/>
                <a:gdLst>
                  <a:gd name="T0" fmla="*/ 160 w 566"/>
                  <a:gd name="T1" fmla="*/ 381 h 381"/>
                  <a:gd name="T2" fmla="*/ 0 w 566"/>
                  <a:gd name="T3" fmla="*/ 348 h 381"/>
                  <a:gd name="T4" fmla="*/ 176 w 566"/>
                  <a:gd name="T5" fmla="*/ 0 h 381"/>
                  <a:gd name="T6" fmla="*/ 566 w 566"/>
                  <a:gd name="T7" fmla="*/ 0 h 381"/>
                  <a:gd name="T8" fmla="*/ 160 w 566"/>
                  <a:gd name="T9" fmla="*/ 381 h 381"/>
                </a:gdLst>
                <a:ahLst/>
                <a:cxnLst>
                  <a:cxn ang="0">
                    <a:pos x="T0" y="T1"/>
                  </a:cxn>
                  <a:cxn ang="0">
                    <a:pos x="T2" y="T3"/>
                  </a:cxn>
                  <a:cxn ang="0">
                    <a:pos x="T4" y="T5"/>
                  </a:cxn>
                  <a:cxn ang="0">
                    <a:pos x="T6" y="T7"/>
                  </a:cxn>
                  <a:cxn ang="0">
                    <a:pos x="T8" y="T9"/>
                  </a:cxn>
                </a:cxnLst>
                <a:rect l="0" t="0" r="r" b="b"/>
                <a:pathLst>
                  <a:path w="566" h="381">
                    <a:moveTo>
                      <a:pt x="160" y="381"/>
                    </a:moveTo>
                    <a:cubicBezTo>
                      <a:pt x="104" y="381"/>
                      <a:pt x="50" y="370"/>
                      <a:pt x="0" y="348"/>
                    </a:cubicBezTo>
                    <a:cubicBezTo>
                      <a:pt x="176" y="0"/>
                      <a:pt x="176" y="0"/>
                      <a:pt x="176" y="0"/>
                    </a:cubicBezTo>
                    <a:cubicBezTo>
                      <a:pt x="566" y="0"/>
                      <a:pt x="566" y="0"/>
                      <a:pt x="566" y="0"/>
                    </a:cubicBezTo>
                    <a:cubicBezTo>
                      <a:pt x="552" y="213"/>
                      <a:pt x="375" y="381"/>
                      <a:pt x="160" y="381"/>
                    </a:cubicBezTo>
                    <a:close/>
                  </a:path>
                </a:pathLst>
              </a:custGeom>
              <a:grpFill/>
              <a:ln>
                <a:noFill/>
              </a:ln>
            </p:spPr>
            <p:txBody>
              <a:bodyPr/>
              <a:lstStyle/>
              <a:p>
                <a:pPr defTabSz="913788">
                  <a:defRPr/>
                </a:pPr>
                <a:endParaRPr lang="en-US" dirty="0">
                  <a:solidFill>
                    <a:srgbClr val="00B0F0"/>
                  </a:solidFill>
                  <a:latin typeface="Segoe UI"/>
                </a:endParaRPr>
              </a:p>
            </p:txBody>
          </p:sp>
        </p:grpSp>
      </p:grpSp>
      <p:sp>
        <p:nvSpPr>
          <p:cNvPr id="303" name="Rectangle 302"/>
          <p:cNvSpPr/>
          <p:nvPr/>
        </p:nvSpPr>
        <p:spPr>
          <a:xfrm>
            <a:off x="10149121" y="1488083"/>
            <a:ext cx="1137441" cy="609849"/>
          </a:xfrm>
          <a:prstGeom prst="rect">
            <a:avLst/>
          </a:prstGeom>
        </p:spPr>
        <p:txBody>
          <a:bodyPr wrap="none" lIns="179208" tIns="134406" rIns="179208" bIns="134406">
            <a:spAutoFit/>
          </a:bodyPr>
          <a:lstStyle/>
          <a:p>
            <a:pPr defTabSz="895870"/>
            <a:r>
              <a:rPr lang="en-US" sz="2157" dirty="0">
                <a:gradFill>
                  <a:gsLst>
                    <a:gs pos="0">
                      <a:srgbClr val="FFFFFF"/>
                    </a:gs>
                    <a:gs pos="100000">
                      <a:srgbClr val="FFFFFF"/>
                    </a:gs>
                  </a:gsLst>
                  <a:lin ang="5400000" scaled="1"/>
                </a:gradFill>
                <a:latin typeface="Segoe UI Light"/>
                <a:ea typeface="Calibri" panose="020F0502020204030204" pitchFamily="34" charset="0"/>
              </a:rPr>
              <a:t>Clients</a:t>
            </a:r>
          </a:p>
        </p:txBody>
      </p:sp>
      <p:sp>
        <p:nvSpPr>
          <p:cNvPr id="339" name="Rectangle 338"/>
          <p:cNvSpPr>
            <a:spLocks noChangeAspect="1"/>
          </p:cNvSpPr>
          <p:nvPr/>
        </p:nvSpPr>
        <p:spPr bwMode="auto">
          <a:xfrm>
            <a:off x="6996928" y="3737954"/>
            <a:ext cx="1823876" cy="387717"/>
          </a:xfrm>
          <a:prstGeom prst="rect">
            <a:avLst/>
          </a:prstGeom>
          <a:noFill/>
          <a:ln w="38100" cap="flat" cmpd="sng" algn="ctr">
            <a:noFill/>
            <a:prstDash val="solid"/>
            <a:headEnd type="none" w="med" len="med"/>
            <a:tailEnd type="none" w="med" len="med"/>
          </a:ln>
          <a:effectLst/>
        </p:spPr>
        <p:txBody>
          <a:bodyPr vert="horz" wrap="square" lIns="91384" tIns="89604" rIns="91384" bIns="89604" numCol="1" rtlCol="0" anchor="t" anchorCtr="0" compatLnSpc="1">
            <a:prstTxWarp prst="textNoShape">
              <a:avLst/>
            </a:prstTxWarp>
          </a:bodyPr>
          <a:lstStyle/>
          <a:p>
            <a:pPr algn="ctr" defTabSz="914225" fontAlgn="base">
              <a:lnSpc>
                <a:spcPct val="90000"/>
              </a:lnSpc>
              <a:spcBef>
                <a:spcPct val="0"/>
              </a:spcBef>
              <a:spcAft>
                <a:spcPts val="588"/>
              </a:spcAft>
            </a:pPr>
            <a:r>
              <a:rPr lang="en-US" sz="1173" dirty="0">
                <a:gradFill>
                  <a:gsLst>
                    <a:gs pos="0">
                      <a:srgbClr val="FFFFFF"/>
                    </a:gs>
                    <a:gs pos="100000">
                      <a:srgbClr val="FFFFFF"/>
                    </a:gs>
                  </a:gsLst>
                  <a:lin ang="5400000" scaled="1"/>
                </a:gradFill>
                <a:latin typeface="Segoe UI"/>
              </a:rPr>
              <a:t>Model is now a web service that is callable</a:t>
            </a:r>
          </a:p>
        </p:txBody>
      </p:sp>
      <p:pic>
        <p:nvPicPr>
          <p:cNvPr id="4" name="Picture 3"/>
          <p:cNvPicPr>
            <a:picLocks noChangeAspect="1"/>
          </p:cNvPicPr>
          <p:nvPr/>
        </p:nvPicPr>
        <p:blipFill>
          <a:blip r:embed="rId3"/>
          <a:stretch>
            <a:fillRect/>
          </a:stretch>
        </p:blipFill>
        <p:spPr>
          <a:xfrm>
            <a:off x="579926" y="2441762"/>
            <a:ext cx="2002083" cy="1140588"/>
          </a:xfrm>
          <a:prstGeom prst="rect">
            <a:avLst/>
          </a:prstGeom>
        </p:spPr>
      </p:pic>
      <p:pic>
        <p:nvPicPr>
          <p:cNvPr id="5" name="Picture 4"/>
          <p:cNvPicPr>
            <a:picLocks noChangeAspect="1"/>
          </p:cNvPicPr>
          <p:nvPr/>
        </p:nvPicPr>
        <p:blipFill>
          <a:blip r:embed="rId4"/>
          <a:stretch>
            <a:fillRect/>
          </a:stretch>
        </p:blipFill>
        <p:spPr>
          <a:xfrm>
            <a:off x="6480558" y="2813277"/>
            <a:ext cx="723797" cy="156303"/>
          </a:xfrm>
          <a:prstGeom prst="rect">
            <a:avLst/>
          </a:prstGeom>
        </p:spPr>
      </p:pic>
      <p:pic>
        <p:nvPicPr>
          <p:cNvPr id="11" name="Picture 10"/>
          <p:cNvPicPr>
            <a:picLocks noChangeAspect="1"/>
          </p:cNvPicPr>
          <p:nvPr/>
        </p:nvPicPr>
        <p:blipFill>
          <a:blip r:embed="rId5"/>
          <a:stretch>
            <a:fillRect/>
          </a:stretch>
        </p:blipFill>
        <p:spPr>
          <a:xfrm>
            <a:off x="2564607" y="3156985"/>
            <a:ext cx="723797" cy="156303"/>
          </a:xfrm>
          <a:prstGeom prst="rect">
            <a:avLst/>
          </a:prstGeom>
        </p:spPr>
      </p:pic>
      <p:cxnSp>
        <p:nvCxnSpPr>
          <p:cNvPr id="111" name="Straight Connector 110"/>
          <p:cNvCxnSpPr/>
          <p:nvPr/>
        </p:nvCxnSpPr>
        <p:spPr>
          <a:xfrm>
            <a:off x="9238442" y="1547193"/>
            <a:ext cx="0" cy="4973938"/>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6898018" y="5036476"/>
            <a:ext cx="2030321" cy="1196808"/>
            <a:chOff x="6508199" y="5380459"/>
            <a:chExt cx="2030609" cy="1196978"/>
          </a:xfrm>
        </p:grpSpPr>
        <p:sp>
          <p:nvSpPr>
            <p:cNvPr id="340" name="Rectangle 339"/>
            <p:cNvSpPr>
              <a:spLocks noChangeAspect="1"/>
            </p:cNvSpPr>
            <p:nvPr/>
          </p:nvSpPr>
          <p:spPr bwMode="auto">
            <a:xfrm>
              <a:off x="6508199" y="6189665"/>
              <a:ext cx="2030609" cy="387772"/>
            </a:xfrm>
            <a:prstGeom prst="rect">
              <a:avLst/>
            </a:prstGeom>
            <a:noFill/>
            <a:ln w="38100" cap="flat" cmpd="sng" algn="ctr">
              <a:noFill/>
              <a:prstDash val="solid"/>
              <a:headEnd type="none" w="med" len="med"/>
              <a:tailEnd type="none" w="med" len="med"/>
            </a:ln>
            <a:effectLst/>
          </p:spPr>
          <p:txBody>
            <a:bodyPr vert="horz" wrap="square" lIns="91384" tIns="89604" rIns="91384" bIns="89604" numCol="1" rtlCol="0" anchor="t" anchorCtr="0" compatLnSpc="1">
              <a:prstTxWarp prst="textNoShape">
                <a:avLst/>
              </a:prstTxWarp>
            </a:bodyPr>
            <a:lstStyle/>
            <a:p>
              <a:pPr algn="ctr" defTabSz="914225" fontAlgn="base">
                <a:lnSpc>
                  <a:spcPct val="90000"/>
                </a:lnSpc>
                <a:spcBef>
                  <a:spcPct val="0"/>
                </a:spcBef>
                <a:spcAft>
                  <a:spcPts val="588"/>
                </a:spcAft>
              </a:pPr>
              <a:r>
                <a:rPr lang="en-US" sz="1173" dirty="0">
                  <a:gradFill>
                    <a:gsLst>
                      <a:gs pos="0">
                        <a:srgbClr val="FFFFFF"/>
                      </a:gs>
                      <a:gs pos="100000">
                        <a:srgbClr val="FFFFFF"/>
                      </a:gs>
                    </a:gsLst>
                    <a:lin ang="5400000" scaled="1"/>
                  </a:gradFill>
                  <a:latin typeface="Segoe UI"/>
                </a:rPr>
                <a:t>Monetize the API through our marketplace</a:t>
              </a:r>
            </a:p>
          </p:txBody>
        </p:sp>
        <p:pic>
          <p:nvPicPr>
            <p:cNvPr id="10" name="Picture 9"/>
            <p:cNvPicPr>
              <a:picLocks noChangeAspect="1"/>
            </p:cNvPicPr>
            <p:nvPr/>
          </p:nvPicPr>
          <p:blipFill>
            <a:blip r:embed="rId6"/>
            <a:stretch>
              <a:fillRect/>
            </a:stretch>
          </p:blipFill>
          <p:spPr>
            <a:xfrm>
              <a:off x="6922450" y="5380459"/>
              <a:ext cx="1210733" cy="722475"/>
            </a:xfrm>
            <a:prstGeom prst="rect">
              <a:avLst/>
            </a:prstGeom>
          </p:spPr>
        </p:pic>
        <p:cxnSp>
          <p:nvCxnSpPr>
            <p:cNvPr id="117" name="Straight Connector 116"/>
            <p:cNvCxnSpPr/>
            <p:nvPr/>
          </p:nvCxnSpPr>
          <p:spPr>
            <a:xfrm>
              <a:off x="6516825" y="6186126"/>
              <a:ext cx="2021983" cy="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20" name="Group 19"/>
          <p:cNvGrpSpPr/>
          <p:nvPr/>
        </p:nvGrpSpPr>
        <p:grpSpPr>
          <a:xfrm>
            <a:off x="7273956" y="2115333"/>
            <a:ext cx="1269819" cy="1546128"/>
            <a:chOff x="6954979" y="2097980"/>
            <a:chExt cx="1270000" cy="1546347"/>
          </a:xfrm>
        </p:grpSpPr>
        <p:sp>
          <p:nvSpPr>
            <p:cNvPr id="19" name="Oval 18"/>
            <p:cNvSpPr/>
            <p:nvPr/>
          </p:nvSpPr>
          <p:spPr>
            <a:xfrm>
              <a:off x="7188226" y="2097980"/>
              <a:ext cx="780956" cy="780956"/>
            </a:xfrm>
            <a:prstGeom prst="ellipse">
              <a:avLst/>
            </a:prstGeom>
            <a:solidFill>
              <a:srgbClr val="00B0F0">
                <a:alpha val="41961"/>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dirty="0">
                <a:solidFill>
                  <a:srgbClr val="FFFFFF"/>
                </a:solidFill>
                <a:latin typeface="Segoe UI"/>
              </a:endParaRPr>
            </a:p>
          </p:txBody>
        </p:sp>
        <p:grpSp>
          <p:nvGrpSpPr>
            <p:cNvPr id="18" name="Group 17"/>
            <p:cNvGrpSpPr/>
            <p:nvPr/>
          </p:nvGrpSpPr>
          <p:grpSpPr>
            <a:xfrm>
              <a:off x="6954979" y="2453658"/>
              <a:ext cx="1270000" cy="1190669"/>
              <a:chOff x="6444986" y="2494569"/>
              <a:chExt cx="1270000" cy="1190669"/>
            </a:xfrm>
          </p:grpSpPr>
          <p:pic>
            <p:nvPicPr>
              <p:cNvPr id="9" name="Picture 8"/>
              <p:cNvPicPr>
                <a:picLocks noChangeAspect="1"/>
              </p:cNvPicPr>
              <p:nvPr/>
            </p:nvPicPr>
            <p:blipFill>
              <a:blip r:embed="rId7"/>
              <a:stretch>
                <a:fillRect/>
              </a:stretch>
            </p:blipFill>
            <p:spPr>
              <a:xfrm>
                <a:off x="6444986" y="2494569"/>
                <a:ext cx="1270000" cy="1187225"/>
              </a:xfrm>
              <a:prstGeom prst="rect">
                <a:avLst/>
              </a:prstGeom>
            </p:spPr>
          </p:pic>
          <p:sp>
            <p:nvSpPr>
              <p:cNvPr id="120" name="Rectangle 119"/>
              <p:cNvSpPr/>
              <p:nvPr/>
            </p:nvSpPr>
            <p:spPr>
              <a:xfrm>
                <a:off x="6672560" y="3075302"/>
                <a:ext cx="757799" cy="609936"/>
              </a:xfrm>
              <a:prstGeom prst="rect">
                <a:avLst/>
              </a:prstGeom>
            </p:spPr>
            <p:txBody>
              <a:bodyPr wrap="none" lIns="179208" tIns="134406" rIns="179208" bIns="134406">
                <a:spAutoFit/>
              </a:bodyPr>
              <a:lstStyle/>
              <a:p>
                <a:pPr defTabSz="895870"/>
                <a:r>
                  <a:rPr lang="en-US" sz="2157" dirty="0">
                    <a:solidFill>
                      <a:srgbClr val="0070C0"/>
                    </a:solidFill>
                    <a:latin typeface="Segoe UI Light"/>
                    <a:ea typeface="Calibri" panose="020F0502020204030204" pitchFamily="34" charset="0"/>
                  </a:rPr>
                  <a:t>API</a:t>
                </a:r>
              </a:p>
            </p:txBody>
          </p:sp>
        </p:grpSp>
      </p:grpSp>
      <p:pic>
        <p:nvPicPr>
          <p:cNvPr id="122" name="Picture 121"/>
          <p:cNvPicPr>
            <a:picLocks noChangeAspect="1"/>
          </p:cNvPicPr>
          <p:nvPr/>
        </p:nvPicPr>
        <p:blipFill>
          <a:blip r:embed="rId4"/>
          <a:stretch>
            <a:fillRect/>
          </a:stretch>
        </p:blipFill>
        <p:spPr>
          <a:xfrm rot="5400000">
            <a:off x="7546967" y="4485087"/>
            <a:ext cx="723797" cy="156303"/>
          </a:xfrm>
          <a:prstGeom prst="rect">
            <a:avLst/>
          </a:prstGeom>
        </p:spPr>
      </p:pic>
      <p:cxnSp>
        <p:nvCxnSpPr>
          <p:cNvPr id="124" name="Straight Connector 123"/>
          <p:cNvCxnSpPr/>
          <p:nvPr/>
        </p:nvCxnSpPr>
        <p:spPr>
          <a:xfrm>
            <a:off x="6898018" y="3746103"/>
            <a:ext cx="2021696" cy="0"/>
          </a:xfrm>
          <a:prstGeom prst="line">
            <a:avLst/>
          </a:prstGeom>
        </p:spPr>
        <p:style>
          <a:lnRef idx="1">
            <a:schemeClr val="accent1"/>
          </a:lnRef>
          <a:fillRef idx="0">
            <a:schemeClr val="accent1"/>
          </a:fillRef>
          <a:effectRef idx="0">
            <a:schemeClr val="accent1"/>
          </a:effectRef>
          <a:fontRef idx="minor">
            <a:schemeClr val="tx1"/>
          </a:fontRef>
        </p:style>
      </p:cxnSp>
      <p:pic>
        <p:nvPicPr>
          <p:cNvPr id="127" name="Picture 126"/>
          <p:cNvPicPr>
            <a:picLocks noChangeAspect="1"/>
          </p:cNvPicPr>
          <p:nvPr/>
        </p:nvPicPr>
        <p:blipFill>
          <a:blip r:embed="rId4"/>
          <a:stretch>
            <a:fillRect/>
          </a:stretch>
        </p:blipFill>
        <p:spPr>
          <a:xfrm>
            <a:off x="8874374" y="2813277"/>
            <a:ext cx="723797" cy="156303"/>
          </a:xfrm>
          <a:prstGeom prst="rect">
            <a:avLst/>
          </a:prstGeom>
        </p:spPr>
      </p:pic>
      <p:pic>
        <p:nvPicPr>
          <p:cNvPr id="129" name="Picture 128"/>
          <p:cNvPicPr>
            <a:picLocks noChangeAspect="1"/>
          </p:cNvPicPr>
          <p:nvPr/>
        </p:nvPicPr>
        <p:blipFill>
          <a:blip r:embed="rId4"/>
          <a:stretch>
            <a:fillRect/>
          </a:stretch>
        </p:blipFill>
        <p:spPr>
          <a:xfrm>
            <a:off x="8874374" y="5277052"/>
            <a:ext cx="723797" cy="156303"/>
          </a:xfrm>
          <a:prstGeom prst="rect">
            <a:avLst/>
          </a:prstGeom>
        </p:spPr>
      </p:pic>
      <p:grpSp>
        <p:nvGrpSpPr>
          <p:cNvPr id="3" name="Group 4"/>
          <p:cNvGrpSpPr>
            <a:grpSpLocks noChangeAspect="1"/>
          </p:cNvGrpSpPr>
          <p:nvPr/>
        </p:nvGrpSpPr>
        <p:grpSpPr bwMode="auto">
          <a:xfrm>
            <a:off x="3991035" y="2359909"/>
            <a:ext cx="2745985" cy="1765051"/>
            <a:chOff x="2254" y="1703"/>
            <a:chExt cx="1730" cy="1112"/>
          </a:xfrm>
        </p:grpSpPr>
        <p:sp>
          <p:nvSpPr>
            <p:cNvPr id="7" name="AutoShape 3"/>
            <p:cNvSpPr>
              <a:spLocks noChangeAspect="1" noChangeArrowheads="1" noTextEdit="1"/>
            </p:cNvSpPr>
            <p:nvPr/>
          </p:nvSpPr>
          <p:spPr bwMode="auto">
            <a:xfrm>
              <a:off x="2254" y="1704"/>
              <a:ext cx="1730" cy="1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8" name="Freeform 5"/>
            <p:cNvSpPr>
              <a:spLocks noEditPoints="1"/>
            </p:cNvSpPr>
            <p:nvPr/>
          </p:nvSpPr>
          <p:spPr bwMode="auto">
            <a:xfrm>
              <a:off x="2254" y="1703"/>
              <a:ext cx="1233" cy="1112"/>
            </a:xfrm>
            <a:custGeom>
              <a:avLst/>
              <a:gdLst>
                <a:gd name="T0" fmla="*/ 923 w 977"/>
                <a:gd name="T1" fmla="*/ 0 h 883"/>
                <a:gd name="T2" fmla="*/ 54 w 977"/>
                <a:gd name="T3" fmla="*/ 0 h 883"/>
                <a:gd name="T4" fmla="*/ 0 w 977"/>
                <a:gd name="T5" fmla="*/ 53 h 883"/>
                <a:gd name="T6" fmla="*/ 0 w 977"/>
                <a:gd name="T7" fmla="*/ 646 h 883"/>
                <a:gd name="T8" fmla="*/ 54 w 977"/>
                <a:gd name="T9" fmla="*/ 700 h 883"/>
                <a:gd name="T10" fmla="*/ 355 w 977"/>
                <a:gd name="T11" fmla="*/ 700 h 883"/>
                <a:gd name="T12" fmla="*/ 168 w 977"/>
                <a:gd name="T13" fmla="*/ 834 h 883"/>
                <a:gd name="T14" fmla="*/ 168 w 977"/>
                <a:gd name="T15" fmla="*/ 883 h 883"/>
                <a:gd name="T16" fmla="*/ 393 w 977"/>
                <a:gd name="T17" fmla="*/ 883 h 883"/>
                <a:gd name="T18" fmla="*/ 568 w 977"/>
                <a:gd name="T19" fmla="*/ 883 h 883"/>
                <a:gd name="T20" fmla="*/ 808 w 977"/>
                <a:gd name="T21" fmla="*/ 883 h 883"/>
                <a:gd name="T22" fmla="*/ 808 w 977"/>
                <a:gd name="T23" fmla="*/ 834 h 883"/>
                <a:gd name="T24" fmla="*/ 618 w 977"/>
                <a:gd name="T25" fmla="*/ 700 h 883"/>
                <a:gd name="T26" fmla="*/ 923 w 977"/>
                <a:gd name="T27" fmla="*/ 700 h 883"/>
                <a:gd name="T28" fmla="*/ 977 w 977"/>
                <a:gd name="T29" fmla="*/ 646 h 883"/>
                <a:gd name="T30" fmla="*/ 977 w 977"/>
                <a:gd name="T31" fmla="*/ 53 h 883"/>
                <a:gd name="T32" fmla="*/ 923 w 977"/>
                <a:gd name="T33" fmla="*/ 0 h 883"/>
                <a:gd name="T34" fmla="*/ 915 w 977"/>
                <a:gd name="T35" fmla="*/ 639 h 883"/>
                <a:gd name="T36" fmla="*/ 61 w 977"/>
                <a:gd name="T37" fmla="*/ 639 h 883"/>
                <a:gd name="T38" fmla="*/ 61 w 977"/>
                <a:gd name="T39" fmla="*/ 61 h 883"/>
                <a:gd name="T40" fmla="*/ 915 w 977"/>
                <a:gd name="T41" fmla="*/ 61 h 883"/>
                <a:gd name="T42" fmla="*/ 915 w 977"/>
                <a:gd name="T43" fmla="*/ 639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7" h="883">
                  <a:moveTo>
                    <a:pt x="923" y="0"/>
                  </a:moveTo>
                  <a:cubicBezTo>
                    <a:pt x="54" y="0"/>
                    <a:pt x="54" y="0"/>
                    <a:pt x="54" y="0"/>
                  </a:cubicBezTo>
                  <a:cubicBezTo>
                    <a:pt x="24" y="0"/>
                    <a:pt x="0" y="24"/>
                    <a:pt x="0" y="53"/>
                  </a:cubicBezTo>
                  <a:cubicBezTo>
                    <a:pt x="0" y="646"/>
                    <a:pt x="0" y="646"/>
                    <a:pt x="0" y="646"/>
                  </a:cubicBezTo>
                  <a:cubicBezTo>
                    <a:pt x="0" y="676"/>
                    <a:pt x="24" y="700"/>
                    <a:pt x="54" y="700"/>
                  </a:cubicBezTo>
                  <a:cubicBezTo>
                    <a:pt x="355" y="700"/>
                    <a:pt x="355" y="700"/>
                    <a:pt x="355" y="700"/>
                  </a:cubicBezTo>
                  <a:cubicBezTo>
                    <a:pt x="384" y="819"/>
                    <a:pt x="353" y="834"/>
                    <a:pt x="168" y="834"/>
                  </a:cubicBezTo>
                  <a:cubicBezTo>
                    <a:pt x="168" y="883"/>
                    <a:pt x="168" y="883"/>
                    <a:pt x="168" y="883"/>
                  </a:cubicBezTo>
                  <a:cubicBezTo>
                    <a:pt x="393" y="883"/>
                    <a:pt x="393" y="883"/>
                    <a:pt x="393" y="883"/>
                  </a:cubicBezTo>
                  <a:cubicBezTo>
                    <a:pt x="568" y="883"/>
                    <a:pt x="568" y="883"/>
                    <a:pt x="568" y="883"/>
                  </a:cubicBezTo>
                  <a:cubicBezTo>
                    <a:pt x="808" y="883"/>
                    <a:pt x="808" y="883"/>
                    <a:pt x="808" y="883"/>
                  </a:cubicBezTo>
                  <a:cubicBezTo>
                    <a:pt x="808" y="834"/>
                    <a:pt x="808" y="834"/>
                    <a:pt x="808" y="834"/>
                  </a:cubicBezTo>
                  <a:cubicBezTo>
                    <a:pt x="603" y="834"/>
                    <a:pt x="589" y="819"/>
                    <a:pt x="618" y="700"/>
                  </a:cubicBezTo>
                  <a:cubicBezTo>
                    <a:pt x="923" y="700"/>
                    <a:pt x="923" y="700"/>
                    <a:pt x="923" y="700"/>
                  </a:cubicBezTo>
                  <a:cubicBezTo>
                    <a:pt x="953" y="700"/>
                    <a:pt x="977" y="676"/>
                    <a:pt x="977" y="646"/>
                  </a:cubicBezTo>
                  <a:cubicBezTo>
                    <a:pt x="977" y="53"/>
                    <a:pt x="977" y="53"/>
                    <a:pt x="977" y="53"/>
                  </a:cubicBezTo>
                  <a:cubicBezTo>
                    <a:pt x="977" y="24"/>
                    <a:pt x="953" y="0"/>
                    <a:pt x="923" y="0"/>
                  </a:cubicBezTo>
                  <a:close/>
                  <a:moveTo>
                    <a:pt x="915" y="639"/>
                  </a:moveTo>
                  <a:cubicBezTo>
                    <a:pt x="61" y="639"/>
                    <a:pt x="61" y="639"/>
                    <a:pt x="61" y="639"/>
                  </a:cubicBezTo>
                  <a:cubicBezTo>
                    <a:pt x="61" y="61"/>
                    <a:pt x="61" y="61"/>
                    <a:pt x="61" y="61"/>
                  </a:cubicBezTo>
                  <a:cubicBezTo>
                    <a:pt x="915" y="61"/>
                    <a:pt x="915" y="61"/>
                    <a:pt x="915" y="61"/>
                  </a:cubicBezTo>
                  <a:lnTo>
                    <a:pt x="915" y="639"/>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12" name="Rectangle 6"/>
            <p:cNvSpPr>
              <a:spLocks noChangeArrowheads="1"/>
            </p:cNvSpPr>
            <p:nvPr/>
          </p:nvSpPr>
          <p:spPr bwMode="auto">
            <a:xfrm>
              <a:off x="2331" y="1780"/>
              <a:ext cx="1078" cy="728"/>
            </a:xfrm>
            <a:prstGeom prst="rect">
              <a:avLst/>
            </a:prstGeom>
            <a:solidFill>
              <a:srgbClr val="4C4C4C"/>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14" name="Rectangle 7"/>
            <p:cNvSpPr>
              <a:spLocks noChangeArrowheads="1"/>
            </p:cNvSpPr>
            <p:nvPr/>
          </p:nvSpPr>
          <p:spPr bwMode="auto">
            <a:xfrm>
              <a:off x="2331" y="1780"/>
              <a:ext cx="1078" cy="110"/>
            </a:xfrm>
            <a:prstGeom prst="rect">
              <a:avLst/>
            </a:prstGeom>
            <a:solidFill>
              <a:srgbClr val="999999"/>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16" name="Oval 8"/>
            <p:cNvSpPr>
              <a:spLocks noChangeArrowheads="1"/>
            </p:cNvSpPr>
            <p:nvPr/>
          </p:nvSpPr>
          <p:spPr bwMode="auto">
            <a:xfrm>
              <a:off x="2358" y="1796"/>
              <a:ext cx="77" cy="77"/>
            </a:xfrm>
            <a:prstGeom prst="ellipse">
              <a:avLst/>
            </a:prstGeom>
            <a:solidFill>
              <a:srgbClr val="0070C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23" name="Line 9"/>
            <p:cNvSpPr>
              <a:spLocks noChangeShapeType="1"/>
            </p:cNvSpPr>
            <p:nvPr/>
          </p:nvSpPr>
          <p:spPr bwMode="auto">
            <a:xfrm flipH="1">
              <a:off x="2379" y="1835"/>
              <a:ext cx="42" cy="0"/>
            </a:xfrm>
            <a:prstGeom prst="line">
              <a:avLst/>
            </a:prstGeom>
            <a:noFill/>
            <a:ln w="6350" cap="flat">
              <a:solidFill>
                <a:srgbClr val="E6E6E6"/>
              </a:solidFill>
              <a:prstDash val="solid"/>
              <a:miter lim="800000"/>
              <a:headEnd/>
              <a:tailEnd/>
            </a:ln>
            <a:extLst>
              <a:ext uri="{909E8E84-426E-40dd-AFC4-6F175D3DCCD1}">
                <a14:hiddenFill xmlns=""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25" name="Line 10"/>
            <p:cNvSpPr>
              <a:spLocks noChangeShapeType="1"/>
            </p:cNvSpPr>
            <p:nvPr/>
          </p:nvSpPr>
          <p:spPr bwMode="auto">
            <a:xfrm>
              <a:off x="2412" y="1835"/>
              <a:ext cx="0" cy="0"/>
            </a:xfrm>
            <a:prstGeom prst="line">
              <a:avLst/>
            </a:prstGeom>
            <a:noFill/>
            <a:ln w="6350" cap="flat">
              <a:solidFill>
                <a:srgbClr val="E6E6E6"/>
              </a:solidFill>
              <a:prstDash val="solid"/>
              <a:miter lim="800000"/>
              <a:headEnd/>
              <a:tailEnd/>
            </a:ln>
            <a:extLst>
              <a:ext uri="{909E8E84-426E-40dd-AFC4-6F175D3DCCD1}">
                <a14:hiddenFill xmlns=""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26" name="Freeform 11"/>
            <p:cNvSpPr>
              <a:spLocks/>
            </p:cNvSpPr>
            <p:nvPr/>
          </p:nvSpPr>
          <p:spPr bwMode="auto">
            <a:xfrm>
              <a:off x="2378" y="1819"/>
              <a:ext cx="17" cy="32"/>
            </a:xfrm>
            <a:custGeom>
              <a:avLst/>
              <a:gdLst>
                <a:gd name="T0" fmla="*/ 17 w 17"/>
                <a:gd name="T1" fmla="*/ 32 h 32"/>
                <a:gd name="T2" fmla="*/ 0 w 17"/>
                <a:gd name="T3" fmla="*/ 16 h 32"/>
                <a:gd name="T4" fmla="*/ 17 w 17"/>
                <a:gd name="T5" fmla="*/ 0 h 32"/>
              </a:gdLst>
              <a:ahLst/>
              <a:cxnLst>
                <a:cxn ang="0">
                  <a:pos x="T0" y="T1"/>
                </a:cxn>
                <a:cxn ang="0">
                  <a:pos x="T2" y="T3"/>
                </a:cxn>
                <a:cxn ang="0">
                  <a:pos x="T4" y="T5"/>
                </a:cxn>
              </a:cxnLst>
              <a:rect l="0" t="0" r="r" b="b"/>
              <a:pathLst>
                <a:path w="17" h="32">
                  <a:moveTo>
                    <a:pt x="17" y="32"/>
                  </a:moveTo>
                  <a:lnTo>
                    <a:pt x="0" y="16"/>
                  </a:lnTo>
                  <a:lnTo>
                    <a:pt x="17" y="0"/>
                  </a:lnTo>
                </a:path>
              </a:pathLst>
            </a:custGeom>
            <a:noFill/>
            <a:ln w="6350" cap="flat">
              <a:solidFill>
                <a:srgbClr val="E6E6E6"/>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27" name="Rectangle 12"/>
            <p:cNvSpPr>
              <a:spLocks noChangeArrowheads="1"/>
            </p:cNvSpPr>
            <p:nvPr/>
          </p:nvSpPr>
          <p:spPr bwMode="auto">
            <a:xfrm>
              <a:off x="3338" y="1780"/>
              <a:ext cx="71" cy="65"/>
            </a:xfrm>
            <a:prstGeom prst="rect">
              <a:avLst/>
            </a:prstGeom>
            <a:solidFill>
              <a:srgbClr val="DD59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28" name="Line 13"/>
            <p:cNvSpPr>
              <a:spLocks noChangeShapeType="1"/>
            </p:cNvSpPr>
            <p:nvPr/>
          </p:nvSpPr>
          <p:spPr bwMode="auto">
            <a:xfrm>
              <a:off x="3358" y="1796"/>
              <a:ext cx="34" cy="34"/>
            </a:xfrm>
            <a:prstGeom prst="line">
              <a:avLst/>
            </a:prstGeom>
            <a:noFill/>
            <a:ln w="3175" cap="flat">
              <a:solidFill>
                <a:srgbClr val="E6E6E6"/>
              </a:solidFill>
              <a:prstDash val="solid"/>
              <a:miter lim="800000"/>
              <a:headEnd/>
              <a:tailEnd/>
            </a:ln>
            <a:extLst>
              <a:ext uri="{909E8E84-426E-40dd-AFC4-6F175D3DCCD1}">
                <a14:hiddenFill xmlns=""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29" name="Line 14"/>
            <p:cNvSpPr>
              <a:spLocks noChangeShapeType="1"/>
            </p:cNvSpPr>
            <p:nvPr/>
          </p:nvSpPr>
          <p:spPr bwMode="auto">
            <a:xfrm flipH="1">
              <a:off x="3358" y="1796"/>
              <a:ext cx="34" cy="34"/>
            </a:xfrm>
            <a:prstGeom prst="line">
              <a:avLst/>
            </a:prstGeom>
            <a:noFill/>
            <a:ln w="3175" cap="flat">
              <a:solidFill>
                <a:srgbClr val="E6E6E6"/>
              </a:solidFill>
              <a:prstDash val="solid"/>
              <a:miter lim="800000"/>
              <a:headEnd/>
              <a:tailEnd/>
            </a:ln>
            <a:extLst>
              <a:ext uri="{909E8E84-426E-40dd-AFC4-6F175D3DCCD1}">
                <a14:hiddenFill xmlns=""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30" name="Rectangle 15"/>
            <p:cNvSpPr>
              <a:spLocks noChangeArrowheads="1"/>
            </p:cNvSpPr>
            <p:nvPr/>
          </p:nvSpPr>
          <p:spPr bwMode="auto">
            <a:xfrm>
              <a:off x="2474" y="1807"/>
              <a:ext cx="824" cy="57"/>
            </a:xfrm>
            <a:prstGeom prst="rect">
              <a:avLst/>
            </a:prstGeom>
            <a:solidFill>
              <a:srgbClr val="FFFFFF"/>
            </a:solidFill>
            <a:ln w="6350" cap="flat">
              <a:solidFill>
                <a:srgbClr val="E6E6E6"/>
              </a:solidFill>
              <a:prstDash val="solid"/>
              <a:miter lim="800000"/>
              <a:headEnd/>
              <a:tailEnd/>
            </a:ln>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31" name="Freeform 16"/>
            <p:cNvSpPr>
              <a:spLocks/>
            </p:cNvSpPr>
            <p:nvPr/>
          </p:nvSpPr>
          <p:spPr bwMode="auto">
            <a:xfrm>
              <a:off x="2624" y="1981"/>
              <a:ext cx="464" cy="78"/>
            </a:xfrm>
            <a:custGeom>
              <a:avLst/>
              <a:gdLst>
                <a:gd name="T0" fmla="*/ 346 w 368"/>
                <a:gd name="T1" fmla="*/ 62 h 62"/>
                <a:gd name="T2" fmla="*/ 22 w 368"/>
                <a:gd name="T3" fmla="*/ 62 h 62"/>
                <a:gd name="T4" fmla="*/ 0 w 368"/>
                <a:gd name="T5" fmla="*/ 40 h 62"/>
                <a:gd name="T6" fmla="*/ 0 w 368"/>
                <a:gd name="T7" fmla="*/ 22 h 62"/>
                <a:gd name="T8" fmla="*/ 22 w 368"/>
                <a:gd name="T9" fmla="*/ 0 h 62"/>
                <a:gd name="T10" fmla="*/ 346 w 368"/>
                <a:gd name="T11" fmla="*/ 0 h 62"/>
                <a:gd name="T12" fmla="*/ 368 w 368"/>
                <a:gd name="T13" fmla="*/ 22 h 62"/>
                <a:gd name="T14" fmla="*/ 368 w 368"/>
                <a:gd name="T15" fmla="*/ 40 h 62"/>
                <a:gd name="T16" fmla="*/ 346 w 368"/>
                <a:gd name="T1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8" h="62">
                  <a:moveTo>
                    <a:pt x="346" y="62"/>
                  </a:moveTo>
                  <a:cubicBezTo>
                    <a:pt x="22" y="62"/>
                    <a:pt x="22" y="62"/>
                    <a:pt x="22" y="62"/>
                  </a:cubicBezTo>
                  <a:cubicBezTo>
                    <a:pt x="10" y="62"/>
                    <a:pt x="0" y="52"/>
                    <a:pt x="0" y="40"/>
                  </a:cubicBezTo>
                  <a:cubicBezTo>
                    <a:pt x="0" y="22"/>
                    <a:pt x="0" y="22"/>
                    <a:pt x="0" y="22"/>
                  </a:cubicBezTo>
                  <a:cubicBezTo>
                    <a:pt x="0" y="10"/>
                    <a:pt x="10" y="0"/>
                    <a:pt x="22" y="0"/>
                  </a:cubicBezTo>
                  <a:cubicBezTo>
                    <a:pt x="346" y="0"/>
                    <a:pt x="346" y="0"/>
                    <a:pt x="346" y="0"/>
                  </a:cubicBezTo>
                  <a:cubicBezTo>
                    <a:pt x="358" y="0"/>
                    <a:pt x="368" y="10"/>
                    <a:pt x="368" y="22"/>
                  </a:cubicBezTo>
                  <a:cubicBezTo>
                    <a:pt x="368" y="40"/>
                    <a:pt x="368" y="40"/>
                    <a:pt x="368" y="40"/>
                  </a:cubicBezTo>
                  <a:cubicBezTo>
                    <a:pt x="368" y="52"/>
                    <a:pt x="358" y="62"/>
                    <a:pt x="346" y="62"/>
                  </a:cubicBezTo>
                  <a:close/>
                </a:path>
              </a:pathLst>
            </a:custGeom>
            <a:solidFill>
              <a:srgbClr val="FFFFFF"/>
            </a:solidFill>
            <a:ln w="6350" cap="flat">
              <a:solidFill>
                <a:srgbClr val="E6E6E6"/>
              </a:solidFill>
              <a:prstDash val="solid"/>
              <a:miter lim="800000"/>
              <a:headEnd/>
              <a:tailEnd/>
            </a:ln>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32" name="Freeform 17"/>
            <p:cNvSpPr>
              <a:spLocks/>
            </p:cNvSpPr>
            <p:nvPr/>
          </p:nvSpPr>
          <p:spPr bwMode="auto">
            <a:xfrm>
              <a:off x="2466" y="2135"/>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10" y="61"/>
                    <a:pt x="0" y="51"/>
                    <a:pt x="0" y="39"/>
                  </a:cubicBezTo>
                  <a:cubicBezTo>
                    <a:pt x="0" y="22"/>
                    <a:pt x="0" y="22"/>
                    <a:pt x="0" y="22"/>
                  </a:cubicBezTo>
                  <a:cubicBezTo>
                    <a:pt x="0" y="10"/>
                    <a:pt x="10" y="0"/>
                    <a:pt x="22" y="0"/>
                  </a:cubicBezTo>
                  <a:cubicBezTo>
                    <a:pt x="196" y="0"/>
                    <a:pt x="196" y="0"/>
                    <a:pt x="196" y="0"/>
                  </a:cubicBezTo>
                  <a:cubicBezTo>
                    <a:pt x="208" y="0"/>
                    <a:pt x="218" y="10"/>
                    <a:pt x="218" y="22"/>
                  </a:cubicBezTo>
                  <a:cubicBezTo>
                    <a:pt x="218" y="39"/>
                    <a:pt x="218" y="39"/>
                    <a:pt x="218" y="39"/>
                  </a:cubicBezTo>
                  <a:cubicBezTo>
                    <a:pt x="218" y="51"/>
                    <a:pt x="208" y="61"/>
                    <a:pt x="196" y="61"/>
                  </a:cubicBezTo>
                  <a:close/>
                </a:path>
              </a:pathLst>
            </a:custGeom>
            <a:solidFill>
              <a:srgbClr val="FFFFFF"/>
            </a:solidFill>
            <a:ln w="6350" cap="flat">
              <a:solidFill>
                <a:srgbClr val="E6E6E6"/>
              </a:solidFill>
              <a:prstDash val="solid"/>
              <a:miter lim="800000"/>
              <a:headEnd/>
              <a:tailEnd/>
            </a:ln>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33" name="Freeform 18"/>
            <p:cNvSpPr>
              <a:spLocks/>
            </p:cNvSpPr>
            <p:nvPr/>
          </p:nvSpPr>
          <p:spPr bwMode="auto">
            <a:xfrm>
              <a:off x="2806" y="2135"/>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9" y="61"/>
                    <a:pt x="0" y="51"/>
                    <a:pt x="0" y="39"/>
                  </a:cubicBezTo>
                  <a:cubicBezTo>
                    <a:pt x="0" y="22"/>
                    <a:pt x="0" y="22"/>
                    <a:pt x="0" y="22"/>
                  </a:cubicBezTo>
                  <a:cubicBezTo>
                    <a:pt x="0" y="10"/>
                    <a:pt x="9" y="0"/>
                    <a:pt x="22" y="0"/>
                  </a:cubicBezTo>
                  <a:cubicBezTo>
                    <a:pt x="196" y="0"/>
                    <a:pt x="196" y="0"/>
                    <a:pt x="196" y="0"/>
                  </a:cubicBezTo>
                  <a:cubicBezTo>
                    <a:pt x="208" y="0"/>
                    <a:pt x="218" y="10"/>
                    <a:pt x="218" y="22"/>
                  </a:cubicBezTo>
                  <a:cubicBezTo>
                    <a:pt x="218" y="39"/>
                    <a:pt x="218" y="39"/>
                    <a:pt x="218" y="39"/>
                  </a:cubicBezTo>
                  <a:cubicBezTo>
                    <a:pt x="218" y="51"/>
                    <a:pt x="208" y="61"/>
                    <a:pt x="196" y="61"/>
                  </a:cubicBezTo>
                  <a:close/>
                </a:path>
              </a:pathLst>
            </a:custGeom>
            <a:solidFill>
              <a:srgbClr val="FFFFFF"/>
            </a:solidFill>
            <a:ln w="6350" cap="flat">
              <a:solidFill>
                <a:srgbClr val="E6E6E6"/>
              </a:solidFill>
              <a:prstDash val="solid"/>
              <a:miter lim="800000"/>
              <a:headEnd/>
              <a:tailEnd/>
            </a:ln>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36" name="Freeform 19"/>
            <p:cNvSpPr>
              <a:spLocks/>
            </p:cNvSpPr>
            <p:nvPr/>
          </p:nvSpPr>
          <p:spPr bwMode="auto">
            <a:xfrm>
              <a:off x="3071" y="2242"/>
              <a:ext cx="275" cy="77"/>
            </a:xfrm>
            <a:custGeom>
              <a:avLst/>
              <a:gdLst>
                <a:gd name="T0" fmla="*/ 196 w 218"/>
                <a:gd name="T1" fmla="*/ 61 h 61"/>
                <a:gd name="T2" fmla="*/ 22 w 218"/>
                <a:gd name="T3" fmla="*/ 61 h 61"/>
                <a:gd name="T4" fmla="*/ 0 w 218"/>
                <a:gd name="T5" fmla="*/ 39 h 61"/>
                <a:gd name="T6" fmla="*/ 0 w 218"/>
                <a:gd name="T7" fmla="*/ 22 h 61"/>
                <a:gd name="T8" fmla="*/ 22 w 218"/>
                <a:gd name="T9" fmla="*/ 0 h 61"/>
                <a:gd name="T10" fmla="*/ 196 w 218"/>
                <a:gd name="T11" fmla="*/ 0 h 61"/>
                <a:gd name="T12" fmla="*/ 218 w 218"/>
                <a:gd name="T13" fmla="*/ 22 h 61"/>
                <a:gd name="T14" fmla="*/ 218 w 218"/>
                <a:gd name="T15" fmla="*/ 39 h 61"/>
                <a:gd name="T16" fmla="*/ 196 w 218"/>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61">
                  <a:moveTo>
                    <a:pt x="196" y="61"/>
                  </a:moveTo>
                  <a:cubicBezTo>
                    <a:pt x="22" y="61"/>
                    <a:pt x="22" y="61"/>
                    <a:pt x="22" y="61"/>
                  </a:cubicBezTo>
                  <a:cubicBezTo>
                    <a:pt x="10" y="61"/>
                    <a:pt x="0" y="52"/>
                    <a:pt x="0" y="39"/>
                  </a:cubicBezTo>
                  <a:cubicBezTo>
                    <a:pt x="0" y="22"/>
                    <a:pt x="0" y="22"/>
                    <a:pt x="0" y="22"/>
                  </a:cubicBezTo>
                  <a:cubicBezTo>
                    <a:pt x="0" y="10"/>
                    <a:pt x="10" y="0"/>
                    <a:pt x="22" y="0"/>
                  </a:cubicBezTo>
                  <a:cubicBezTo>
                    <a:pt x="196" y="0"/>
                    <a:pt x="196" y="0"/>
                    <a:pt x="196" y="0"/>
                  </a:cubicBezTo>
                  <a:cubicBezTo>
                    <a:pt x="208" y="0"/>
                    <a:pt x="218" y="10"/>
                    <a:pt x="218" y="22"/>
                  </a:cubicBezTo>
                  <a:cubicBezTo>
                    <a:pt x="218" y="39"/>
                    <a:pt x="218" y="39"/>
                    <a:pt x="218" y="39"/>
                  </a:cubicBezTo>
                  <a:cubicBezTo>
                    <a:pt x="218" y="52"/>
                    <a:pt x="208" y="61"/>
                    <a:pt x="196" y="61"/>
                  </a:cubicBezTo>
                  <a:close/>
                </a:path>
              </a:pathLst>
            </a:custGeom>
            <a:solidFill>
              <a:srgbClr val="FFFFFF"/>
            </a:solidFill>
            <a:ln w="6350" cap="flat">
              <a:solidFill>
                <a:srgbClr val="E6E6E6"/>
              </a:solidFill>
              <a:prstDash val="solid"/>
              <a:miter lim="800000"/>
              <a:headEnd/>
              <a:tailEnd/>
            </a:ln>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39" name="Freeform 20"/>
            <p:cNvSpPr>
              <a:spLocks/>
            </p:cNvSpPr>
            <p:nvPr/>
          </p:nvSpPr>
          <p:spPr bwMode="auto">
            <a:xfrm>
              <a:off x="2604" y="2060"/>
              <a:ext cx="258" cy="47"/>
            </a:xfrm>
            <a:custGeom>
              <a:avLst/>
              <a:gdLst>
                <a:gd name="T0" fmla="*/ 258 w 258"/>
                <a:gd name="T1" fmla="*/ 0 h 47"/>
                <a:gd name="T2" fmla="*/ 258 w 258"/>
                <a:gd name="T3" fmla="*/ 24 h 47"/>
                <a:gd name="T4" fmla="*/ 0 w 258"/>
                <a:gd name="T5" fmla="*/ 24 h 47"/>
                <a:gd name="T6" fmla="*/ 0 w 258"/>
                <a:gd name="T7" fmla="*/ 47 h 47"/>
              </a:gdLst>
              <a:ahLst/>
              <a:cxnLst>
                <a:cxn ang="0">
                  <a:pos x="T0" y="T1"/>
                </a:cxn>
                <a:cxn ang="0">
                  <a:pos x="T2" y="T3"/>
                </a:cxn>
                <a:cxn ang="0">
                  <a:pos x="T4" y="T5"/>
                </a:cxn>
                <a:cxn ang="0">
                  <a:pos x="T6" y="T7"/>
                </a:cxn>
              </a:cxnLst>
              <a:rect l="0" t="0" r="r" b="b"/>
              <a:pathLst>
                <a:path w="258" h="47">
                  <a:moveTo>
                    <a:pt x="258" y="0"/>
                  </a:moveTo>
                  <a:lnTo>
                    <a:pt x="258" y="24"/>
                  </a:lnTo>
                  <a:lnTo>
                    <a:pt x="0" y="24"/>
                  </a:lnTo>
                  <a:lnTo>
                    <a:pt x="0" y="47"/>
                  </a:lnTo>
                </a:path>
              </a:pathLst>
            </a:custGeom>
            <a:noFill/>
            <a:ln w="6350" cap="flat">
              <a:solidFill>
                <a:srgbClr val="E6E6E6"/>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40" name="Freeform 21"/>
            <p:cNvSpPr>
              <a:spLocks/>
            </p:cNvSpPr>
            <p:nvPr/>
          </p:nvSpPr>
          <p:spPr bwMode="auto">
            <a:xfrm>
              <a:off x="2592" y="2103"/>
              <a:ext cx="23" cy="20"/>
            </a:xfrm>
            <a:custGeom>
              <a:avLst/>
              <a:gdLst>
                <a:gd name="T0" fmla="*/ 0 w 23"/>
                <a:gd name="T1" fmla="*/ 0 h 20"/>
                <a:gd name="T2" fmla="*/ 12 w 23"/>
                <a:gd name="T3" fmla="*/ 20 h 20"/>
                <a:gd name="T4" fmla="*/ 23 w 23"/>
                <a:gd name="T5" fmla="*/ 0 h 20"/>
                <a:gd name="T6" fmla="*/ 0 w 23"/>
                <a:gd name="T7" fmla="*/ 0 h 20"/>
              </a:gdLst>
              <a:ahLst/>
              <a:cxnLst>
                <a:cxn ang="0">
                  <a:pos x="T0" y="T1"/>
                </a:cxn>
                <a:cxn ang="0">
                  <a:pos x="T2" y="T3"/>
                </a:cxn>
                <a:cxn ang="0">
                  <a:pos x="T4" y="T5"/>
                </a:cxn>
                <a:cxn ang="0">
                  <a:pos x="T6" y="T7"/>
                </a:cxn>
              </a:cxnLst>
              <a:rect l="0" t="0" r="r" b="b"/>
              <a:pathLst>
                <a:path w="23" h="20">
                  <a:moveTo>
                    <a:pt x="0" y="0"/>
                  </a:moveTo>
                  <a:lnTo>
                    <a:pt x="12" y="20"/>
                  </a:lnTo>
                  <a:lnTo>
                    <a:pt x="23" y="0"/>
                  </a:lnTo>
                  <a:lnTo>
                    <a:pt x="0" y="0"/>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42" name="Freeform 22"/>
            <p:cNvSpPr>
              <a:spLocks/>
            </p:cNvSpPr>
            <p:nvPr/>
          </p:nvSpPr>
          <p:spPr bwMode="auto">
            <a:xfrm>
              <a:off x="2862" y="2060"/>
              <a:ext cx="81" cy="47"/>
            </a:xfrm>
            <a:custGeom>
              <a:avLst/>
              <a:gdLst>
                <a:gd name="T0" fmla="*/ 0 w 81"/>
                <a:gd name="T1" fmla="*/ 0 h 47"/>
                <a:gd name="T2" fmla="*/ 0 w 81"/>
                <a:gd name="T3" fmla="*/ 24 h 47"/>
                <a:gd name="T4" fmla="*/ 81 w 81"/>
                <a:gd name="T5" fmla="*/ 24 h 47"/>
                <a:gd name="T6" fmla="*/ 81 w 81"/>
                <a:gd name="T7" fmla="*/ 47 h 47"/>
              </a:gdLst>
              <a:ahLst/>
              <a:cxnLst>
                <a:cxn ang="0">
                  <a:pos x="T0" y="T1"/>
                </a:cxn>
                <a:cxn ang="0">
                  <a:pos x="T2" y="T3"/>
                </a:cxn>
                <a:cxn ang="0">
                  <a:pos x="T4" y="T5"/>
                </a:cxn>
                <a:cxn ang="0">
                  <a:pos x="T6" y="T7"/>
                </a:cxn>
              </a:cxnLst>
              <a:rect l="0" t="0" r="r" b="b"/>
              <a:pathLst>
                <a:path w="81" h="47">
                  <a:moveTo>
                    <a:pt x="0" y="0"/>
                  </a:moveTo>
                  <a:lnTo>
                    <a:pt x="0" y="24"/>
                  </a:lnTo>
                  <a:lnTo>
                    <a:pt x="81" y="24"/>
                  </a:lnTo>
                  <a:lnTo>
                    <a:pt x="81" y="47"/>
                  </a:lnTo>
                </a:path>
              </a:pathLst>
            </a:custGeom>
            <a:noFill/>
            <a:ln w="6350" cap="flat">
              <a:solidFill>
                <a:srgbClr val="E6E6E6"/>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43" name="Freeform 23"/>
            <p:cNvSpPr>
              <a:spLocks/>
            </p:cNvSpPr>
            <p:nvPr/>
          </p:nvSpPr>
          <p:spPr bwMode="auto">
            <a:xfrm>
              <a:off x="2932" y="2103"/>
              <a:ext cx="22" cy="20"/>
            </a:xfrm>
            <a:custGeom>
              <a:avLst/>
              <a:gdLst>
                <a:gd name="T0" fmla="*/ 0 w 22"/>
                <a:gd name="T1" fmla="*/ 0 h 20"/>
                <a:gd name="T2" fmla="*/ 11 w 22"/>
                <a:gd name="T3" fmla="*/ 20 h 20"/>
                <a:gd name="T4" fmla="*/ 22 w 22"/>
                <a:gd name="T5" fmla="*/ 0 h 20"/>
                <a:gd name="T6" fmla="*/ 0 w 22"/>
                <a:gd name="T7" fmla="*/ 0 h 20"/>
              </a:gdLst>
              <a:ahLst/>
              <a:cxnLst>
                <a:cxn ang="0">
                  <a:pos x="T0" y="T1"/>
                </a:cxn>
                <a:cxn ang="0">
                  <a:pos x="T2" y="T3"/>
                </a:cxn>
                <a:cxn ang="0">
                  <a:pos x="T4" y="T5"/>
                </a:cxn>
                <a:cxn ang="0">
                  <a:pos x="T6" y="T7"/>
                </a:cxn>
              </a:cxnLst>
              <a:rect l="0" t="0" r="r" b="b"/>
              <a:pathLst>
                <a:path w="22" h="20">
                  <a:moveTo>
                    <a:pt x="0" y="0"/>
                  </a:moveTo>
                  <a:lnTo>
                    <a:pt x="11" y="20"/>
                  </a:lnTo>
                  <a:lnTo>
                    <a:pt x="22" y="0"/>
                  </a:lnTo>
                  <a:lnTo>
                    <a:pt x="0" y="0"/>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44" name="Freeform 24"/>
            <p:cNvSpPr>
              <a:spLocks/>
            </p:cNvSpPr>
            <p:nvPr/>
          </p:nvSpPr>
          <p:spPr bwMode="auto">
            <a:xfrm>
              <a:off x="3081" y="2174"/>
              <a:ext cx="137" cy="35"/>
            </a:xfrm>
            <a:custGeom>
              <a:avLst/>
              <a:gdLst>
                <a:gd name="T0" fmla="*/ 0 w 137"/>
                <a:gd name="T1" fmla="*/ 0 h 35"/>
                <a:gd name="T2" fmla="*/ 137 w 137"/>
                <a:gd name="T3" fmla="*/ 0 h 35"/>
                <a:gd name="T4" fmla="*/ 137 w 137"/>
                <a:gd name="T5" fmla="*/ 35 h 35"/>
              </a:gdLst>
              <a:ahLst/>
              <a:cxnLst>
                <a:cxn ang="0">
                  <a:pos x="T0" y="T1"/>
                </a:cxn>
                <a:cxn ang="0">
                  <a:pos x="T2" y="T3"/>
                </a:cxn>
                <a:cxn ang="0">
                  <a:pos x="T4" y="T5"/>
                </a:cxn>
              </a:cxnLst>
              <a:rect l="0" t="0" r="r" b="b"/>
              <a:pathLst>
                <a:path w="137" h="35">
                  <a:moveTo>
                    <a:pt x="0" y="0"/>
                  </a:moveTo>
                  <a:lnTo>
                    <a:pt x="137" y="0"/>
                  </a:lnTo>
                  <a:lnTo>
                    <a:pt x="137" y="35"/>
                  </a:lnTo>
                </a:path>
              </a:pathLst>
            </a:custGeom>
            <a:noFill/>
            <a:ln w="6350" cap="flat">
              <a:solidFill>
                <a:srgbClr val="E6E6E6"/>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sp>
          <p:nvSpPr>
            <p:cNvPr id="45" name="Freeform 25"/>
            <p:cNvSpPr>
              <a:spLocks/>
            </p:cNvSpPr>
            <p:nvPr/>
          </p:nvSpPr>
          <p:spPr bwMode="auto">
            <a:xfrm>
              <a:off x="3207" y="2205"/>
              <a:ext cx="21" cy="19"/>
            </a:xfrm>
            <a:custGeom>
              <a:avLst/>
              <a:gdLst>
                <a:gd name="T0" fmla="*/ 0 w 21"/>
                <a:gd name="T1" fmla="*/ 0 h 19"/>
                <a:gd name="T2" fmla="*/ 11 w 21"/>
                <a:gd name="T3" fmla="*/ 19 h 19"/>
                <a:gd name="T4" fmla="*/ 21 w 21"/>
                <a:gd name="T5" fmla="*/ 0 h 19"/>
                <a:gd name="T6" fmla="*/ 0 w 21"/>
                <a:gd name="T7" fmla="*/ 0 h 19"/>
              </a:gdLst>
              <a:ahLst/>
              <a:cxnLst>
                <a:cxn ang="0">
                  <a:pos x="T0" y="T1"/>
                </a:cxn>
                <a:cxn ang="0">
                  <a:pos x="T2" y="T3"/>
                </a:cxn>
                <a:cxn ang="0">
                  <a:pos x="T4" y="T5"/>
                </a:cxn>
                <a:cxn ang="0">
                  <a:pos x="T6" y="T7"/>
                </a:cxn>
              </a:cxnLst>
              <a:rect l="0" t="0" r="r" b="b"/>
              <a:pathLst>
                <a:path w="21" h="19">
                  <a:moveTo>
                    <a:pt x="0" y="0"/>
                  </a:moveTo>
                  <a:lnTo>
                    <a:pt x="11" y="19"/>
                  </a:lnTo>
                  <a:lnTo>
                    <a:pt x="21" y="0"/>
                  </a:lnTo>
                  <a:lnTo>
                    <a:pt x="0" y="0"/>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dirty="0">
                <a:solidFill>
                  <a:srgbClr val="00B0F0"/>
                </a:solidFill>
                <a:latin typeface="Segoe UI"/>
              </a:endParaRPr>
            </a:p>
          </p:txBody>
        </p:sp>
      </p:grpSp>
      <p:sp>
        <p:nvSpPr>
          <p:cNvPr id="221" name="Rectangle 220"/>
          <p:cNvSpPr>
            <a:spLocks noChangeAspect="1"/>
          </p:cNvSpPr>
          <p:nvPr/>
        </p:nvSpPr>
        <p:spPr bwMode="auto">
          <a:xfrm>
            <a:off x="3648071" y="4253544"/>
            <a:ext cx="2745369" cy="800321"/>
          </a:xfrm>
          <a:prstGeom prst="rect">
            <a:avLst/>
          </a:prstGeom>
          <a:noFill/>
          <a:ln w="38100" cap="flat" cmpd="sng" algn="ctr">
            <a:noFill/>
            <a:prstDash val="solid"/>
            <a:headEnd type="none" w="med" len="med"/>
            <a:tailEnd type="none" w="med" len="med"/>
          </a:ln>
          <a:effectLst/>
        </p:spPr>
        <p:txBody>
          <a:bodyPr vert="horz" wrap="square" lIns="91384" tIns="89604" rIns="91384" bIns="89604" numCol="1" rtlCol="0" anchor="t" anchorCtr="0" compatLnSpc="1">
            <a:prstTxWarp prst="textNoShape">
              <a:avLst/>
            </a:prstTxWarp>
          </a:bodyPr>
          <a:lstStyle/>
          <a:p>
            <a:pPr algn="ctr" defTabSz="914225" fontAlgn="base">
              <a:lnSpc>
                <a:spcPct val="90000"/>
              </a:lnSpc>
              <a:spcBef>
                <a:spcPct val="0"/>
              </a:spcBef>
              <a:spcAft>
                <a:spcPts val="588"/>
              </a:spcAft>
            </a:pPr>
            <a:r>
              <a:rPr lang="en-US" sz="1173" dirty="0">
                <a:gradFill>
                  <a:gsLst>
                    <a:gs pos="0">
                      <a:srgbClr val="FFFFFF"/>
                    </a:gs>
                    <a:gs pos="100000">
                      <a:srgbClr val="FFFFFF"/>
                    </a:gs>
                  </a:gsLst>
                  <a:lin ang="5400000" scaled="1"/>
                </a:gradFill>
                <a:latin typeface="Segoe UI"/>
              </a:rPr>
              <a:t>Integrated development environment for Machine Learning </a:t>
            </a:r>
          </a:p>
        </p:txBody>
      </p:sp>
      <p:sp>
        <p:nvSpPr>
          <p:cNvPr id="114" name="Rectangle 113"/>
          <p:cNvSpPr>
            <a:spLocks noChangeAspect="1"/>
          </p:cNvSpPr>
          <p:nvPr/>
        </p:nvSpPr>
        <p:spPr bwMode="auto">
          <a:xfrm>
            <a:off x="3915817" y="3244823"/>
            <a:ext cx="1325019" cy="232598"/>
          </a:xfrm>
          <a:prstGeom prst="rect">
            <a:avLst/>
          </a:prstGeom>
          <a:noFill/>
          <a:ln w="38100" cap="flat" cmpd="sng" algn="ctr">
            <a:noFill/>
            <a:prstDash val="solid"/>
            <a:headEnd type="none" w="med" len="med"/>
            <a:tailEnd type="none" w="med" len="med"/>
          </a:ln>
          <a:effectLst/>
        </p:spPr>
        <p:txBody>
          <a:bodyPr vert="horz" wrap="square" lIns="91384" tIns="89604" rIns="91384" bIns="89604" numCol="1" rtlCol="0" anchor="t" anchorCtr="0" compatLnSpc="1">
            <a:prstTxWarp prst="textNoShape">
              <a:avLst/>
            </a:prstTxWarp>
          </a:bodyPr>
          <a:lstStyle/>
          <a:p>
            <a:pPr algn="ctr" defTabSz="914225" fontAlgn="base">
              <a:lnSpc>
                <a:spcPct val="90000"/>
              </a:lnSpc>
              <a:spcBef>
                <a:spcPct val="0"/>
              </a:spcBef>
              <a:spcAft>
                <a:spcPts val="588"/>
              </a:spcAft>
            </a:pPr>
            <a:r>
              <a:rPr lang="en-US" sz="1000" dirty="0">
                <a:solidFill>
                  <a:srgbClr val="FFFFFF"/>
                </a:solidFill>
                <a:latin typeface="Segoe UI"/>
              </a:rPr>
              <a:t>ML STUDIO</a:t>
            </a:r>
          </a:p>
        </p:txBody>
      </p:sp>
      <p:cxnSp>
        <p:nvCxnSpPr>
          <p:cNvPr id="17" name="Straight Connector 16"/>
          <p:cNvCxnSpPr/>
          <p:nvPr/>
        </p:nvCxnSpPr>
        <p:spPr>
          <a:xfrm>
            <a:off x="3659693" y="4246161"/>
            <a:ext cx="2733747"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7321620"/>
      </p:ext>
    </p:extLst>
  </p:cSld>
  <p:clrMapOvr>
    <a:masterClrMapping/>
  </p:clrMapOvr>
  <p:transition spd="slow">
    <p:push/>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2628948"/>
            <a:ext cx="11655840" cy="899665"/>
          </a:xfrm>
        </p:spPr>
        <p:txBody>
          <a:bodyPr/>
          <a:lstStyle/>
          <a:p>
            <a:pPr algn="ctr"/>
            <a:r>
              <a:rPr lang="en-SG" sz="6000">
                <a:solidFill>
                  <a:schemeClr val="tx2"/>
                </a:solidFill>
              </a:rPr>
              <a:t>HOL</a:t>
            </a:r>
            <a:endParaRPr lang="en-SG" sz="6000" dirty="0">
              <a:solidFill>
                <a:schemeClr val="tx2"/>
              </a:solidFill>
            </a:endParaRPr>
          </a:p>
        </p:txBody>
      </p:sp>
    </p:spTree>
    <p:extLst>
      <p:ext uri="{BB962C8B-B14F-4D97-AF65-F5344CB8AC3E}">
        <p14:creationId xmlns:p14="http://schemas.microsoft.com/office/powerpoint/2010/main" val="428148072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Left Bracket 35"/>
          <p:cNvSpPr/>
          <p:nvPr/>
        </p:nvSpPr>
        <p:spPr>
          <a:xfrm>
            <a:off x="7570898" y="1652170"/>
            <a:ext cx="260048" cy="3651899"/>
          </a:xfrm>
          <a:prstGeom prst="leftBracket">
            <a:avLst>
              <a:gd name="adj" fmla="val 0"/>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3330" fontAlgn="base">
              <a:spcBef>
                <a:spcPct val="0"/>
              </a:spcBef>
              <a:spcAft>
                <a:spcPct val="0"/>
              </a:spcAft>
            </a:pPr>
            <a:endParaRPr lang="en-US" sz="2353" dirty="0">
              <a:solidFill>
                <a:srgbClr val="000000"/>
              </a:solidFill>
            </a:endParaRPr>
          </a:p>
        </p:txBody>
      </p:sp>
      <p:sp>
        <p:nvSpPr>
          <p:cNvPr id="26" name="Title 2"/>
          <p:cNvSpPr txBox="1">
            <a:spLocks/>
          </p:cNvSpPr>
          <p:nvPr/>
        </p:nvSpPr>
        <p:spPr>
          <a:xfrm>
            <a:off x="6995029" y="3192362"/>
            <a:ext cx="1153163" cy="522914"/>
          </a:xfrm>
          <a:prstGeom prst="rect">
            <a:avLst/>
          </a:prstGeom>
          <a:solidFill>
            <a:schemeClr val="bg1"/>
          </a:solidFill>
        </p:spPr>
        <p:txBody>
          <a:bodyPr vert="horz" wrap="square" lIns="0" tIns="0" rIns="0" bIns="0" rtlCol="0" anchor="ctr">
            <a:noAutofit/>
          </a:bodyPr>
          <a:lstStyle>
            <a:lvl1pPr algn="l" defTabSz="931863" rtl="0" fontAlgn="base">
              <a:lnSpc>
                <a:spcPct val="90000"/>
              </a:lnSpc>
              <a:spcBef>
                <a:spcPct val="0"/>
              </a:spcBef>
              <a:spcAft>
                <a:spcPct val="0"/>
              </a:spcAft>
              <a:defRPr lang="en-US" sz="5200" kern="1200" spc="-102">
                <a:ln w="3175">
                  <a:noFill/>
                </a:ln>
                <a:solidFill>
                  <a:schemeClr val="tx2"/>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pPr algn="ctr" defTabSz="914192" fontAlgn="auto">
              <a:lnSpc>
                <a:spcPct val="100000"/>
              </a:lnSpc>
              <a:spcAft>
                <a:spcPts val="0"/>
              </a:spcAft>
              <a:defRPr/>
            </a:pPr>
            <a:r>
              <a:rPr sz="2800" dirty="0">
                <a:gradFill>
                  <a:gsLst>
                    <a:gs pos="1250">
                      <a:schemeClr val="tx2"/>
                    </a:gs>
                    <a:gs pos="100000">
                      <a:schemeClr val="tx2"/>
                    </a:gs>
                  </a:gsLst>
                  <a:lin ang="5400000" scaled="0"/>
                </a:gradFill>
                <a:latin typeface="Segoe UI Semibold" panose="020B0702040204020203" pitchFamily="34" charset="0"/>
                <a:ea typeface="+mn-ea"/>
                <a:cs typeface="Segoe UI Semibold" panose="020B0702040204020203" pitchFamily="34" charset="0"/>
              </a:rPr>
              <a:t>How?</a:t>
            </a:r>
          </a:p>
        </p:txBody>
      </p:sp>
      <p:sp>
        <p:nvSpPr>
          <p:cNvPr id="6" name="blue_bg"/>
          <p:cNvSpPr/>
          <p:nvPr/>
        </p:nvSpPr>
        <p:spPr bwMode="auto">
          <a:xfrm>
            <a:off x="868" y="975"/>
            <a:ext cx="5801834" cy="688873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1961" dirty="0">
              <a:ln w="0"/>
              <a:solidFill>
                <a:srgbClr val="0072C6"/>
              </a:solidFill>
              <a:effectLst>
                <a:outerShdw blurRad="38100" dist="19050" dir="2700000" algn="tl" rotWithShape="0">
                  <a:srgbClr val="000000">
                    <a:alpha val="40000"/>
                  </a:srgbClr>
                </a:outerShdw>
              </a:effectLst>
              <a:latin typeface="Segoe UI Light"/>
              <a:ea typeface="Segoe UI" pitchFamily="34" charset="0"/>
              <a:cs typeface="Segoe UI" pitchFamily="34" charset="0"/>
            </a:endParaRPr>
          </a:p>
        </p:txBody>
      </p:sp>
      <p:sp>
        <p:nvSpPr>
          <p:cNvPr id="27" name="Rectangle 26"/>
          <p:cNvSpPr/>
          <p:nvPr/>
        </p:nvSpPr>
        <p:spPr bwMode="auto">
          <a:xfrm>
            <a:off x="278068" y="1410402"/>
            <a:ext cx="4033340" cy="4033340"/>
          </a:xfrm>
          <a:prstGeom prst="rect">
            <a:avLst/>
          </a:prstGeom>
          <a:noFill/>
        </p:spPr>
        <p:txBody>
          <a:bodyPr wrap="square" lIns="179259" tIns="134445" rtlCol="0">
            <a:noAutofit/>
          </a:bodyPr>
          <a:lstStyle/>
          <a:p>
            <a:pPr defTabSz="913330" fontAlgn="base">
              <a:lnSpc>
                <a:spcPts val="3000"/>
              </a:lnSpc>
              <a:spcBef>
                <a:spcPct val="0"/>
              </a:spcBef>
              <a:spcAft>
                <a:spcPct val="0"/>
              </a:spcAft>
            </a:pPr>
            <a:endParaRPr lang="en-US" sz="2745" dirty="0">
              <a:solidFill>
                <a:srgbClr val="FFFFFF"/>
              </a:solidFill>
              <a:latin typeface="Segoe UI Light"/>
              <a:ea typeface="MS PGothic" charset="0"/>
            </a:endParaRPr>
          </a:p>
        </p:txBody>
      </p:sp>
      <p:grpSp>
        <p:nvGrpSpPr>
          <p:cNvPr id="33" name="arrow"/>
          <p:cNvGrpSpPr/>
          <p:nvPr/>
        </p:nvGrpSpPr>
        <p:grpSpPr>
          <a:xfrm>
            <a:off x="5341866" y="3068703"/>
            <a:ext cx="829353" cy="832724"/>
            <a:chOff x="5476876" y="3667021"/>
            <a:chExt cx="568324" cy="570634"/>
          </a:xfrm>
        </p:grpSpPr>
        <p:sp>
          <p:nvSpPr>
            <p:cNvPr id="34" name="Oval 33"/>
            <p:cNvSpPr/>
            <p:nvPr/>
          </p:nvSpPr>
          <p:spPr bwMode="auto">
            <a:xfrm>
              <a:off x="5510261" y="3686477"/>
              <a:ext cx="534585" cy="534585"/>
            </a:xfrm>
            <a:prstGeom prst="ellipse">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9"/>
            <p:cNvSpPr>
              <a:spLocks noEditPoints="1"/>
            </p:cNvSpPr>
            <p:nvPr/>
          </p:nvSpPr>
          <p:spPr bwMode="black">
            <a:xfrm>
              <a:off x="5476876" y="3667021"/>
              <a:ext cx="568324" cy="570634"/>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rgbClr val="0072C6"/>
            </a:solidFill>
            <a:ln>
              <a:noFill/>
            </a:ln>
            <a:extLst/>
          </p:spPr>
          <p:txBody>
            <a:bodyPr vert="horz" wrap="square" lIns="89630" tIns="44814" rIns="89630" bIns="44814" numCol="1" anchor="t" anchorCtr="0" compatLnSpc="1">
              <a:prstTxWarp prst="textNoShape">
                <a:avLst/>
              </a:prstTxWarp>
            </a:bodyPr>
            <a:lstStyle/>
            <a:p>
              <a:pPr defTabSz="913330" fontAlgn="base">
                <a:spcBef>
                  <a:spcPct val="0"/>
                </a:spcBef>
                <a:spcAft>
                  <a:spcPct val="0"/>
                </a:spcAft>
              </a:pPr>
              <a:endParaRPr lang="en-US" sz="2353" dirty="0">
                <a:solidFill>
                  <a:srgbClr val="000000"/>
                </a:solidFill>
                <a:ea typeface="MS PGothic" charset="0"/>
              </a:endParaRPr>
            </a:p>
          </p:txBody>
        </p:sp>
      </p:grpSp>
      <p:sp>
        <p:nvSpPr>
          <p:cNvPr id="3" name="Title 2"/>
          <p:cNvSpPr>
            <a:spLocks noGrp="1"/>
          </p:cNvSpPr>
          <p:nvPr>
            <p:ph type="title"/>
          </p:nvPr>
        </p:nvSpPr>
        <p:spPr>
          <a:xfrm>
            <a:off x="868" y="897198"/>
            <a:ext cx="5801834" cy="899537"/>
          </a:xfrm>
        </p:spPr>
        <p:txBody>
          <a:bodyPr/>
          <a:lstStyle/>
          <a:p>
            <a:pPr algn="ctr"/>
            <a:r>
              <a:rPr lang="en-US" sz="4411" spc="0" dirty="0">
                <a:gradFill>
                  <a:gsLst>
                    <a:gs pos="1250">
                      <a:schemeClr val="bg1"/>
                    </a:gs>
                    <a:gs pos="100000">
                      <a:schemeClr val="bg1"/>
                    </a:gs>
                  </a:gsLst>
                  <a:lin ang="5400000" scaled="0"/>
                </a:gradFill>
                <a:cs typeface="+mn-cs"/>
              </a:rPr>
              <a:t>The opportunity is bigger than you </a:t>
            </a:r>
            <a:br>
              <a:rPr lang="en-US" sz="4411" spc="0" dirty="0">
                <a:gradFill>
                  <a:gsLst>
                    <a:gs pos="1250">
                      <a:schemeClr val="bg1"/>
                    </a:gs>
                    <a:gs pos="100000">
                      <a:schemeClr val="bg1"/>
                    </a:gs>
                  </a:gsLst>
                  <a:lin ang="5400000" scaled="0"/>
                </a:gradFill>
                <a:cs typeface="+mn-cs"/>
              </a:rPr>
            </a:br>
            <a:r>
              <a:rPr lang="en-US" sz="4411" spc="0" dirty="0">
                <a:gradFill>
                  <a:gsLst>
                    <a:gs pos="1250">
                      <a:schemeClr val="bg1"/>
                    </a:gs>
                    <a:gs pos="100000">
                      <a:schemeClr val="bg1"/>
                    </a:gs>
                  </a:gsLst>
                  <a:lin ang="5400000" scaled="0"/>
                </a:gradFill>
                <a:cs typeface="+mn-cs"/>
              </a:rPr>
              <a:t>may think </a:t>
            </a:r>
          </a:p>
        </p:txBody>
      </p:sp>
      <p:sp>
        <p:nvSpPr>
          <p:cNvPr id="22" name="TextBox 21"/>
          <p:cNvSpPr txBox="1"/>
          <p:nvPr/>
        </p:nvSpPr>
        <p:spPr>
          <a:xfrm>
            <a:off x="-13239" y="2613493"/>
            <a:ext cx="5815940" cy="1861336"/>
          </a:xfrm>
          <a:prstGeom prst="rect">
            <a:avLst/>
          </a:prstGeom>
          <a:noFill/>
        </p:spPr>
        <p:txBody>
          <a:bodyPr wrap="square">
            <a:spAutoFit/>
          </a:bodyPr>
          <a:lstStyle/>
          <a:p>
            <a:pPr algn="ctr" defTabSz="913330" fontAlgn="base">
              <a:spcBef>
                <a:spcPct val="0"/>
              </a:spcBef>
              <a:spcAft>
                <a:spcPct val="0"/>
              </a:spcAft>
              <a:defRPr/>
            </a:pPr>
            <a:r>
              <a:rPr lang="en-US" sz="11271" b="1" spc="-300" dirty="0">
                <a:gradFill>
                  <a:gsLst>
                    <a:gs pos="1250">
                      <a:schemeClr val="bg1"/>
                    </a:gs>
                    <a:gs pos="100000">
                      <a:schemeClr val="bg1"/>
                    </a:gs>
                  </a:gsLst>
                  <a:lin ang="5400000" scaled="0"/>
                </a:gradFill>
                <a:ea typeface="MS PGothic" panose="020B0600070205080204" pitchFamily="34" charset="-128"/>
                <a:cs typeface="Segoe UI" panose="020B0502040204020203" pitchFamily="34" charset="0"/>
              </a:rPr>
              <a:t>$1.6T</a:t>
            </a:r>
          </a:p>
        </p:txBody>
      </p:sp>
      <p:sp>
        <p:nvSpPr>
          <p:cNvPr id="28678" name="TextBox 22"/>
          <p:cNvSpPr txBox="1">
            <a:spLocks noChangeArrowheads="1"/>
          </p:cNvSpPr>
          <p:nvPr/>
        </p:nvSpPr>
        <p:spPr bwMode="auto">
          <a:xfrm>
            <a:off x="-13239" y="4423517"/>
            <a:ext cx="5815941" cy="1169551"/>
          </a:xfrm>
          <a:prstGeom prst="rect">
            <a:avLst/>
          </a:prstGeom>
          <a:noFill/>
          <a:ln>
            <a:noFill/>
          </a:ln>
          <a:extLst/>
        </p:spPr>
        <p:txBody>
          <a:bodyPr wrap="square">
            <a:spAutoFit/>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algn="ctr" defTabSz="913330" eaLnBrk="1" fontAlgn="base" hangingPunct="1">
              <a:lnSpc>
                <a:spcPts val="2822"/>
              </a:lnSpc>
              <a:spcBef>
                <a:spcPct val="0"/>
              </a:spcBef>
              <a:spcAft>
                <a:spcPct val="0"/>
              </a:spcAft>
            </a:pPr>
            <a:r>
              <a:rPr lang="en-US" sz="2745" dirty="0">
                <a:gradFill>
                  <a:gsLst>
                    <a:gs pos="1250">
                      <a:schemeClr val="bg1"/>
                    </a:gs>
                    <a:gs pos="100000">
                      <a:schemeClr val="bg1"/>
                    </a:gs>
                  </a:gsLst>
                  <a:lin ang="5400000" scaled="0"/>
                </a:gradFill>
                <a:latin typeface="Segoe UI Light"/>
                <a:ea typeface="MS PGothic" panose="020B0600070205080204" pitchFamily="34" charset="-128"/>
                <a:cs typeface="Segoe UI Light"/>
              </a:rPr>
              <a:t>data dividend available </a:t>
            </a:r>
            <a:br>
              <a:rPr lang="en-US" sz="2745" dirty="0">
                <a:gradFill>
                  <a:gsLst>
                    <a:gs pos="1250">
                      <a:schemeClr val="bg1"/>
                    </a:gs>
                    <a:gs pos="100000">
                      <a:schemeClr val="bg1"/>
                    </a:gs>
                  </a:gsLst>
                  <a:lin ang="5400000" scaled="0"/>
                </a:gradFill>
                <a:latin typeface="Segoe UI Light"/>
                <a:ea typeface="MS PGothic" panose="020B0600070205080204" pitchFamily="34" charset="-128"/>
                <a:cs typeface="Segoe UI Light"/>
              </a:rPr>
            </a:br>
            <a:r>
              <a:rPr lang="en-US" sz="2745" dirty="0">
                <a:gradFill>
                  <a:gsLst>
                    <a:gs pos="1250">
                      <a:schemeClr val="bg1"/>
                    </a:gs>
                    <a:gs pos="100000">
                      <a:schemeClr val="bg1"/>
                    </a:gs>
                  </a:gsLst>
                  <a:lin ang="5400000" scaled="0"/>
                </a:gradFill>
                <a:latin typeface="Segoe UI Light"/>
                <a:ea typeface="MS PGothic" panose="020B0600070205080204" pitchFamily="34" charset="-128"/>
                <a:cs typeface="Segoe UI Light"/>
              </a:rPr>
              <a:t>to businesses that embrace </a:t>
            </a:r>
            <a:br>
              <a:rPr lang="en-US" sz="2745" dirty="0">
                <a:gradFill>
                  <a:gsLst>
                    <a:gs pos="1250">
                      <a:schemeClr val="bg1"/>
                    </a:gs>
                    <a:gs pos="100000">
                      <a:schemeClr val="bg1"/>
                    </a:gs>
                  </a:gsLst>
                  <a:lin ang="5400000" scaled="0"/>
                </a:gradFill>
                <a:latin typeface="Segoe UI Light"/>
                <a:ea typeface="MS PGothic" panose="020B0600070205080204" pitchFamily="34" charset="-128"/>
                <a:cs typeface="Segoe UI Light"/>
              </a:rPr>
            </a:br>
            <a:r>
              <a:rPr lang="en-US" sz="2745" b="1" dirty="0">
                <a:gradFill>
                  <a:gsLst>
                    <a:gs pos="1250">
                      <a:schemeClr val="bg1"/>
                    </a:gs>
                    <a:gs pos="100000">
                      <a:schemeClr val="bg1"/>
                    </a:gs>
                  </a:gsLst>
                  <a:lin ang="5400000" scaled="0"/>
                </a:gradFill>
                <a:latin typeface="Segoe UI" panose="020B0502040204020203" pitchFamily="34" charset="0"/>
                <a:ea typeface="MS PGothic" panose="020B0600070205080204" pitchFamily="34" charset="-128"/>
                <a:cs typeface="Segoe UI" panose="020B0502040204020203" pitchFamily="34" charset="0"/>
              </a:rPr>
              <a:t>data </a:t>
            </a:r>
            <a:r>
              <a:rPr lang="en-US" sz="2745" dirty="0">
                <a:gradFill>
                  <a:gsLst>
                    <a:gs pos="1250">
                      <a:schemeClr val="bg1"/>
                    </a:gs>
                    <a:gs pos="100000">
                      <a:schemeClr val="bg1"/>
                    </a:gs>
                  </a:gsLst>
                  <a:lin ang="5400000" scaled="0"/>
                </a:gradFill>
                <a:latin typeface="Segoe UI Light"/>
                <a:ea typeface="MS PGothic" panose="020B0600070205080204" pitchFamily="34" charset="-128"/>
                <a:cs typeface="Segoe UI Light"/>
              </a:rPr>
              <a:t>over the next four years</a:t>
            </a:r>
          </a:p>
        </p:txBody>
      </p:sp>
      <p:grpSp>
        <p:nvGrpSpPr>
          <p:cNvPr id="11" name="Group 10"/>
          <p:cNvGrpSpPr/>
          <p:nvPr/>
        </p:nvGrpSpPr>
        <p:grpSpPr>
          <a:xfrm>
            <a:off x="10578124" y="2955725"/>
            <a:ext cx="1138330" cy="992879"/>
            <a:chOff x="11082348" y="2975783"/>
            <a:chExt cx="1161321" cy="1012932"/>
          </a:xfrm>
        </p:grpSpPr>
        <p:sp>
          <p:nvSpPr>
            <p:cNvPr id="17" name="TextBox 16"/>
            <p:cNvSpPr txBox="1"/>
            <p:nvPr/>
          </p:nvSpPr>
          <p:spPr>
            <a:xfrm>
              <a:off x="11082348" y="3649603"/>
              <a:ext cx="1161321" cy="339112"/>
            </a:xfrm>
            <a:prstGeom prst="rect">
              <a:avLst/>
            </a:prstGeom>
            <a:noFill/>
          </p:spPr>
          <p:txBody>
            <a:bodyPr wrap="square" lIns="0" tIns="0" rIns="0" bIns="0" anchor="ctr">
              <a:spAutoFit/>
            </a:bodyPr>
            <a:lstStyle/>
            <a:p>
              <a:pPr algn="ctr" defTabSz="914139">
                <a:lnSpc>
                  <a:spcPct val="90000"/>
                </a:lnSpc>
                <a:spcAft>
                  <a:spcPts val="1175"/>
                </a:spcAft>
                <a:defRPr/>
              </a:pPr>
              <a:r>
                <a:rPr lang="en-US" sz="2400" dirty="0">
                  <a:solidFill>
                    <a:srgbClr val="797A7D"/>
                  </a:solidFill>
                  <a:latin typeface="Segoe UI Semibold" panose="020B0702040204020203" pitchFamily="34" charset="0"/>
                  <a:cs typeface="Segoe UI Semibold" panose="020B0702040204020203" pitchFamily="34" charset="0"/>
                </a:rPr>
                <a:t>Speed</a:t>
              </a:r>
            </a:p>
          </p:txBody>
        </p:sp>
        <p:grpSp>
          <p:nvGrpSpPr>
            <p:cNvPr id="10" name="Group 9"/>
            <p:cNvGrpSpPr/>
            <p:nvPr/>
          </p:nvGrpSpPr>
          <p:grpSpPr>
            <a:xfrm>
              <a:off x="11317634" y="2975783"/>
              <a:ext cx="626118" cy="624077"/>
              <a:chOff x="11317634" y="2880533"/>
              <a:chExt cx="626118" cy="624077"/>
            </a:xfrm>
          </p:grpSpPr>
          <p:sp>
            <p:nvSpPr>
              <p:cNvPr id="24" name="Oval 23"/>
              <p:cNvSpPr>
                <a:spLocks noChangeAspect="1"/>
              </p:cNvSpPr>
              <p:nvPr/>
            </p:nvSpPr>
            <p:spPr bwMode="auto">
              <a:xfrm>
                <a:off x="11321960" y="2882820"/>
                <a:ext cx="621792" cy="621790"/>
              </a:xfrm>
              <a:prstGeom prst="ellips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wrap="square" rtlCol="0" anchor="ctr">
                <a:noAutofit/>
              </a:bodyPr>
              <a:lstStyle/>
              <a:p>
                <a:pPr algn="ctr" defTabSz="913330" fontAlgn="base">
                  <a:spcBef>
                    <a:spcPct val="0"/>
                  </a:spcBef>
                  <a:spcAft>
                    <a:spcPct val="0"/>
                  </a:spcAft>
                </a:pPr>
                <a:endParaRPr lang="en-US" sz="1765" b="1" dirty="0">
                  <a:solidFill>
                    <a:srgbClr val="000000"/>
                  </a:solidFill>
                </a:endParaRPr>
              </a:p>
            </p:txBody>
          </p:sp>
          <p:sp>
            <p:nvSpPr>
              <p:cNvPr id="25" name="TextBox 24"/>
              <p:cNvSpPr txBox="1"/>
              <p:nvPr/>
            </p:nvSpPr>
            <p:spPr>
              <a:xfrm>
                <a:off x="11317634" y="2880533"/>
                <a:ext cx="621792" cy="621789"/>
              </a:xfrm>
              <a:prstGeom prst="rect">
                <a:avLst/>
              </a:prstGeom>
              <a:noFill/>
            </p:spPr>
            <p:txBody>
              <a:bodyPr wrap="square" lIns="0" tIns="0" rIns="0" bIns="0" rtlCol="0" anchor="ctr">
                <a:noAutofit/>
              </a:bodyPr>
              <a:lstStyle>
                <a:defPPr>
                  <a:defRPr lang="en-US"/>
                </a:defPPr>
                <a:lvl1pPr algn="ctr">
                  <a:lnSpc>
                    <a:spcPct val="90000"/>
                  </a:lnSpc>
                  <a:spcAft>
                    <a:spcPts val="600"/>
                  </a:spcAft>
                  <a:defRPr sz="4000" b="1" spc="-100">
                    <a:ln w="22225">
                      <a:noFill/>
                    </a:ln>
                    <a:gradFill>
                      <a:gsLst>
                        <a:gs pos="82323">
                          <a:srgbClr val="FFFFFF"/>
                        </a:gs>
                        <a:gs pos="73039">
                          <a:srgbClr val="FFFFFF"/>
                        </a:gs>
                      </a:gsLst>
                      <a:lin ang="5400000" scaled="0"/>
                    </a:gradFill>
                    <a:latin typeface="Segoe UI Semibold" panose="020B0702040204020203" pitchFamily="34" charset="0"/>
                    <a:cs typeface="Segoe UI Semibold" panose="020B0702040204020203" pitchFamily="34" charset="0"/>
                  </a:defRPr>
                </a:lvl1pPr>
              </a:lstStyle>
              <a:p>
                <a:pPr defTabSz="913330" fontAlgn="base">
                  <a:spcBef>
                    <a:spcPct val="0"/>
                  </a:spcBef>
                </a:pPr>
                <a:r>
                  <a:rPr lang="en-US" sz="3920" dirty="0">
                    <a:ea typeface="MS PGothic" charset="0"/>
                  </a:rPr>
                  <a:t>@</a:t>
                </a:r>
              </a:p>
            </p:txBody>
          </p:sp>
        </p:grpSp>
      </p:grpSp>
      <p:sp>
        <p:nvSpPr>
          <p:cNvPr id="13" name="Rectangle 12"/>
          <p:cNvSpPr/>
          <p:nvPr/>
        </p:nvSpPr>
        <p:spPr>
          <a:xfrm>
            <a:off x="8151140" y="4328291"/>
            <a:ext cx="1788110" cy="1792595"/>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79259" tIns="179259" rIns="179259" bIns="179259" anchor="ctr"/>
          <a:lstStyle/>
          <a:p>
            <a:pPr defTabSz="914139">
              <a:lnSpc>
                <a:spcPct val="90000"/>
              </a:lnSpc>
              <a:defRPr/>
            </a:pPr>
            <a:r>
              <a:rPr lang="en-US" sz="2000" dirty="0">
                <a:gradFill>
                  <a:gsLst>
                    <a:gs pos="1250">
                      <a:schemeClr val="bg1"/>
                    </a:gs>
                    <a:gs pos="100000">
                      <a:schemeClr val="bg1"/>
                    </a:gs>
                  </a:gsLst>
                  <a:lin ang="5400000" scaled="0"/>
                </a:gradFill>
                <a:latin typeface="Segoe UI Semibold" panose="020B0702040204020203" pitchFamily="34" charset="0"/>
                <a:cs typeface="Segoe UI Semibold" panose="020B0702040204020203" pitchFamily="34" charset="0"/>
              </a:rPr>
              <a:t>More people</a:t>
            </a:r>
          </a:p>
        </p:txBody>
      </p:sp>
      <p:sp>
        <p:nvSpPr>
          <p:cNvPr id="16" name="Rectangle 15"/>
          <p:cNvSpPr/>
          <p:nvPr/>
        </p:nvSpPr>
        <p:spPr>
          <a:xfrm>
            <a:off x="8151140" y="758115"/>
            <a:ext cx="1788109" cy="1788109"/>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179259" tIns="179259" rIns="179259" bIns="179259" anchor="ctr"/>
          <a:lstStyle/>
          <a:p>
            <a:pPr defTabSz="914139">
              <a:lnSpc>
                <a:spcPct val="90000"/>
              </a:lnSpc>
              <a:defRPr/>
            </a:pPr>
            <a:r>
              <a:rPr lang="en-US" sz="2000" dirty="0">
                <a:gradFill>
                  <a:gsLst>
                    <a:gs pos="1250">
                      <a:schemeClr val="bg1"/>
                    </a:gs>
                    <a:gs pos="100000">
                      <a:schemeClr val="bg1"/>
                    </a:gs>
                  </a:gsLst>
                  <a:lin ang="5400000" scaled="0"/>
                </a:gradFill>
                <a:latin typeface="Segoe UI Semibold" panose="020B0702040204020203" pitchFamily="34" charset="0"/>
                <a:cs typeface="Segoe UI Semibold" panose="020B0702040204020203" pitchFamily="34" charset="0"/>
              </a:rPr>
              <a:t>Diverse data</a:t>
            </a:r>
          </a:p>
        </p:txBody>
      </p:sp>
      <p:sp>
        <p:nvSpPr>
          <p:cNvPr id="37" name="Left Bracket 36"/>
          <p:cNvSpPr/>
          <p:nvPr/>
        </p:nvSpPr>
        <p:spPr>
          <a:xfrm flipH="1">
            <a:off x="10212542" y="1652170"/>
            <a:ext cx="260048" cy="3651899"/>
          </a:xfrm>
          <a:prstGeom prst="leftBracket">
            <a:avLst>
              <a:gd name="adj" fmla="val 0"/>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3330" fontAlgn="base">
              <a:spcBef>
                <a:spcPct val="0"/>
              </a:spcBef>
              <a:spcAft>
                <a:spcPct val="0"/>
              </a:spcAft>
            </a:pPr>
            <a:endParaRPr lang="en-US" sz="2353" dirty="0">
              <a:solidFill>
                <a:srgbClr val="000000"/>
              </a:solidFill>
            </a:endParaRPr>
          </a:p>
        </p:txBody>
      </p:sp>
      <p:sp>
        <p:nvSpPr>
          <p:cNvPr id="28" name="TextBox 40"/>
          <p:cNvSpPr txBox="1">
            <a:spLocks noChangeArrowheads="1"/>
          </p:cNvSpPr>
          <p:nvPr/>
        </p:nvSpPr>
        <p:spPr bwMode="auto">
          <a:xfrm>
            <a:off x="8067545" y="6404211"/>
            <a:ext cx="4123592" cy="45281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79259" tIns="143407" rIns="179259" bIns="143407">
            <a:spAutoFit/>
          </a:bodyPr>
          <a:lstStyle>
            <a:lvl1pPr eaLnBrk="0" hangingPunct="0">
              <a:defRPr sz="2400">
                <a:solidFill>
                  <a:schemeClr val="tx1"/>
                </a:solidFill>
                <a:latin typeface="Segoe UI" charset="0"/>
                <a:ea typeface="MS PGothic" charset="0"/>
                <a:cs typeface="MS PGothic" charset="0"/>
              </a:defRPr>
            </a:lvl1pPr>
            <a:lvl2pPr marL="742950" indent="-285750" eaLnBrk="0" hangingPunct="0">
              <a:defRPr sz="2400">
                <a:solidFill>
                  <a:schemeClr val="tx1"/>
                </a:solidFill>
                <a:latin typeface="Segoe UI" charset="0"/>
                <a:ea typeface="MS PGothic" charset="0"/>
                <a:cs typeface="MS PGothic" charset="0"/>
              </a:defRPr>
            </a:lvl2pPr>
            <a:lvl3pPr marL="1143000" indent="-228600" eaLnBrk="0" hangingPunct="0">
              <a:defRPr sz="2400">
                <a:solidFill>
                  <a:schemeClr val="tx1"/>
                </a:solidFill>
                <a:latin typeface="Segoe UI" charset="0"/>
                <a:ea typeface="MS PGothic" charset="0"/>
                <a:cs typeface="MS PGothic" charset="0"/>
              </a:defRPr>
            </a:lvl3pPr>
            <a:lvl4pPr marL="1600200" indent="-228600" eaLnBrk="0" hangingPunct="0">
              <a:defRPr sz="2400">
                <a:solidFill>
                  <a:schemeClr val="tx1"/>
                </a:solidFill>
                <a:latin typeface="Segoe UI" charset="0"/>
                <a:ea typeface="MS PGothic" charset="0"/>
                <a:cs typeface="MS PGothic" charset="0"/>
              </a:defRPr>
            </a:lvl4pPr>
            <a:lvl5pPr marL="2057400" indent="-228600" eaLnBrk="0" hangingPunct="0">
              <a:defRPr sz="2400">
                <a:solidFill>
                  <a:schemeClr val="tx1"/>
                </a:solidFill>
                <a:latin typeface="Segoe UI" charset="0"/>
                <a:ea typeface="MS PGothic" charset="0"/>
                <a:cs typeface="MS PGothic" charset="0"/>
              </a:defRPr>
            </a:lvl5pPr>
            <a:lvl6pPr marL="25146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6pPr>
            <a:lvl7pPr marL="29718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7pPr>
            <a:lvl8pPr marL="34290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8pPr>
            <a:lvl9pPr marL="3886200" indent="-228600" defTabSz="931863" eaLnBrk="0" fontAlgn="base" hangingPunct="0">
              <a:spcBef>
                <a:spcPct val="0"/>
              </a:spcBef>
              <a:spcAft>
                <a:spcPct val="0"/>
              </a:spcAft>
              <a:defRPr sz="2400">
                <a:solidFill>
                  <a:schemeClr val="tx1"/>
                </a:solidFill>
                <a:latin typeface="Segoe UI" charset="0"/>
                <a:ea typeface="MS PGothic" charset="0"/>
                <a:cs typeface="MS PGothic" charset="0"/>
              </a:defRPr>
            </a:lvl9pPr>
          </a:lstStyle>
          <a:p>
            <a:pPr algn="r" defTabSz="913330" eaLnBrk="1" fontAlgn="base" hangingPunct="1">
              <a:lnSpc>
                <a:spcPct val="90000"/>
              </a:lnSpc>
              <a:spcBef>
                <a:spcPct val="0"/>
              </a:spcBef>
              <a:spcAft>
                <a:spcPts val="588"/>
              </a:spcAft>
            </a:pPr>
            <a:r>
              <a:rPr lang="en-US" sz="1175" dirty="0">
                <a:solidFill>
                  <a:srgbClr val="797A7D"/>
                </a:solidFill>
              </a:rPr>
              <a:t>Data source: Microsoft and IDC, April 2014</a:t>
            </a:r>
          </a:p>
        </p:txBody>
      </p:sp>
      <p:sp>
        <p:nvSpPr>
          <p:cNvPr id="15" name="NewAnalytics"/>
          <p:cNvSpPr/>
          <p:nvPr/>
        </p:nvSpPr>
        <p:spPr>
          <a:xfrm>
            <a:off x="8151140" y="2540183"/>
            <a:ext cx="1788109" cy="1788109"/>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79259" tIns="179259" rIns="179259" bIns="179259" anchor="ctr"/>
          <a:lstStyle/>
          <a:p>
            <a:pPr defTabSz="914139">
              <a:lnSpc>
                <a:spcPct val="90000"/>
              </a:lnSpc>
              <a:defRPr/>
            </a:pPr>
            <a:r>
              <a:rPr lang="en-US" sz="2000" dirty="0">
                <a:gradFill>
                  <a:gsLst>
                    <a:gs pos="1250">
                      <a:schemeClr val="bg1"/>
                    </a:gs>
                    <a:gs pos="100000">
                      <a:schemeClr val="bg1"/>
                    </a:gs>
                  </a:gsLst>
                  <a:lin ang="5400000" scaled="0"/>
                </a:gradFill>
                <a:latin typeface="Segoe UI Semibold" panose="020B0702040204020203" pitchFamily="34" charset="0"/>
                <a:cs typeface="Segoe UI Semibold" panose="020B0702040204020203" pitchFamily="34" charset="0"/>
              </a:rPr>
              <a:t>New analytics</a:t>
            </a:r>
          </a:p>
        </p:txBody>
      </p:sp>
      <p:grpSp>
        <p:nvGrpSpPr>
          <p:cNvPr id="5" name="Group 4"/>
          <p:cNvGrpSpPr/>
          <p:nvPr/>
        </p:nvGrpSpPr>
        <p:grpSpPr>
          <a:xfrm>
            <a:off x="8742524" y="2235792"/>
            <a:ext cx="630180" cy="630178"/>
            <a:chOff x="8917830" y="2280128"/>
            <a:chExt cx="642816" cy="642814"/>
          </a:xfrm>
        </p:grpSpPr>
        <p:sp>
          <p:nvSpPr>
            <p:cNvPr id="30" name="Oval 29"/>
            <p:cNvSpPr/>
            <p:nvPr/>
          </p:nvSpPr>
          <p:spPr bwMode="auto">
            <a:xfrm>
              <a:off x="8917830" y="2280128"/>
              <a:ext cx="642816" cy="64281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745" dirty="0">
                <a:gradFill>
                  <a:gsLst>
                    <a:gs pos="0">
                      <a:srgbClr val="FFFFFF"/>
                    </a:gs>
                    <a:gs pos="100000">
                      <a:srgbClr val="FFFFFF"/>
                    </a:gs>
                  </a:gsLst>
                  <a:lin ang="5400000" scaled="0"/>
                </a:gradFill>
                <a:ea typeface="Segoe UI" pitchFamily="34" charset="0"/>
                <a:cs typeface="Segoe UI" pitchFamily="34" charset="0"/>
              </a:endParaRPr>
            </a:p>
          </p:txBody>
        </p:sp>
        <p:sp>
          <p:nvSpPr>
            <p:cNvPr id="20" name="Freeform 93"/>
            <p:cNvSpPr>
              <a:spLocks/>
            </p:cNvSpPr>
            <p:nvPr/>
          </p:nvSpPr>
          <p:spPr bwMode="black">
            <a:xfrm rot="5400000">
              <a:off x="9052200" y="2417591"/>
              <a:ext cx="374074" cy="367889"/>
            </a:xfrm>
            <a:custGeom>
              <a:avLst/>
              <a:gdLst>
                <a:gd name="T0" fmla="*/ 71 w 121"/>
                <a:gd name="T1" fmla="*/ 119 h 119"/>
                <a:gd name="T2" fmla="*/ 50 w 121"/>
                <a:gd name="T3" fmla="*/ 119 h 119"/>
                <a:gd name="T4" fmla="*/ 50 w 121"/>
                <a:gd name="T5" fmla="*/ 71 h 119"/>
                <a:gd name="T6" fmla="*/ 0 w 121"/>
                <a:gd name="T7" fmla="*/ 71 h 119"/>
                <a:gd name="T8" fmla="*/ 0 w 121"/>
                <a:gd name="T9" fmla="*/ 49 h 119"/>
                <a:gd name="T10" fmla="*/ 50 w 121"/>
                <a:gd name="T11" fmla="*/ 49 h 119"/>
                <a:gd name="T12" fmla="*/ 50 w 121"/>
                <a:gd name="T13" fmla="*/ 0 h 119"/>
                <a:gd name="T14" fmla="*/ 71 w 121"/>
                <a:gd name="T15" fmla="*/ 0 h 119"/>
                <a:gd name="T16" fmla="*/ 71 w 121"/>
                <a:gd name="T17" fmla="*/ 49 h 119"/>
                <a:gd name="T18" fmla="*/ 121 w 121"/>
                <a:gd name="T19" fmla="*/ 49 h 119"/>
                <a:gd name="T20" fmla="*/ 121 w 121"/>
                <a:gd name="T21" fmla="*/ 71 h 119"/>
                <a:gd name="T22" fmla="*/ 71 w 121"/>
                <a:gd name="T23" fmla="*/ 71 h 119"/>
                <a:gd name="T24" fmla="*/ 71 w 121"/>
                <a:gd name="T25"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1" h="119">
                  <a:moveTo>
                    <a:pt x="71" y="119"/>
                  </a:moveTo>
                  <a:lnTo>
                    <a:pt x="50" y="119"/>
                  </a:lnTo>
                  <a:lnTo>
                    <a:pt x="50" y="71"/>
                  </a:lnTo>
                  <a:lnTo>
                    <a:pt x="0" y="71"/>
                  </a:lnTo>
                  <a:lnTo>
                    <a:pt x="0" y="49"/>
                  </a:lnTo>
                  <a:lnTo>
                    <a:pt x="50" y="49"/>
                  </a:lnTo>
                  <a:lnTo>
                    <a:pt x="50" y="0"/>
                  </a:lnTo>
                  <a:lnTo>
                    <a:pt x="71" y="0"/>
                  </a:lnTo>
                  <a:lnTo>
                    <a:pt x="71" y="49"/>
                  </a:lnTo>
                  <a:lnTo>
                    <a:pt x="121" y="49"/>
                  </a:lnTo>
                  <a:lnTo>
                    <a:pt x="121" y="71"/>
                  </a:lnTo>
                  <a:lnTo>
                    <a:pt x="71" y="71"/>
                  </a:lnTo>
                  <a:lnTo>
                    <a:pt x="71" y="119"/>
                  </a:lnTo>
                  <a:close/>
                </a:path>
              </a:pathLst>
            </a:custGeom>
            <a:solidFill>
              <a:schemeClr val="bg1">
                <a:lumMod val="50000"/>
              </a:schemeClr>
            </a:solidFill>
            <a:ln>
              <a:noFill/>
            </a:ln>
            <a:extLst/>
          </p:spPr>
          <p:txBody>
            <a:bodyPr vert="horz" wrap="square" lIns="89611" tIns="44805" rIns="89611" bIns="44805" numCol="1" anchor="t" anchorCtr="0" compatLnSpc="1">
              <a:prstTxWarp prst="textNoShape">
                <a:avLst/>
              </a:prstTxWarp>
            </a:bodyPr>
            <a:lstStyle/>
            <a:p>
              <a:pPr defTabSz="895999" fontAlgn="base">
                <a:spcBef>
                  <a:spcPct val="0"/>
                </a:spcBef>
                <a:spcAft>
                  <a:spcPct val="0"/>
                </a:spcAft>
              </a:pPr>
              <a:endParaRPr lang="en-US" sz="2745" dirty="0">
                <a:solidFill>
                  <a:srgbClr val="000000"/>
                </a:solidFill>
                <a:ea typeface="MS PGothic" charset="0"/>
              </a:endParaRPr>
            </a:p>
          </p:txBody>
        </p:sp>
      </p:grpSp>
      <p:grpSp>
        <p:nvGrpSpPr>
          <p:cNvPr id="7" name="Group 6"/>
          <p:cNvGrpSpPr/>
          <p:nvPr/>
        </p:nvGrpSpPr>
        <p:grpSpPr>
          <a:xfrm>
            <a:off x="8742524" y="4023901"/>
            <a:ext cx="630180" cy="630178"/>
            <a:chOff x="8917830" y="4104092"/>
            <a:chExt cx="642816" cy="642814"/>
          </a:xfrm>
        </p:grpSpPr>
        <p:sp>
          <p:nvSpPr>
            <p:cNvPr id="31" name="Oval 30"/>
            <p:cNvSpPr/>
            <p:nvPr/>
          </p:nvSpPr>
          <p:spPr bwMode="auto">
            <a:xfrm>
              <a:off x="8917830" y="4104092"/>
              <a:ext cx="642816" cy="64281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745" dirty="0">
                <a:gradFill>
                  <a:gsLst>
                    <a:gs pos="0">
                      <a:srgbClr val="FFFFFF"/>
                    </a:gs>
                    <a:gs pos="100000">
                      <a:srgbClr val="FFFFFF"/>
                    </a:gs>
                  </a:gsLst>
                  <a:lin ang="5400000" scaled="0"/>
                </a:gradFill>
                <a:ea typeface="Segoe UI" pitchFamily="34" charset="0"/>
                <a:cs typeface="Segoe UI" pitchFamily="34" charset="0"/>
              </a:endParaRPr>
            </a:p>
          </p:txBody>
        </p:sp>
        <p:sp>
          <p:nvSpPr>
            <p:cNvPr id="32" name="Freeform 93"/>
            <p:cNvSpPr>
              <a:spLocks/>
            </p:cNvSpPr>
            <p:nvPr/>
          </p:nvSpPr>
          <p:spPr bwMode="black">
            <a:xfrm rot="5400000">
              <a:off x="9052200" y="4241553"/>
              <a:ext cx="374074" cy="367889"/>
            </a:xfrm>
            <a:custGeom>
              <a:avLst/>
              <a:gdLst>
                <a:gd name="T0" fmla="*/ 71 w 121"/>
                <a:gd name="T1" fmla="*/ 119 h 119"/>
                <a:gd name="T2" fmla="*/ 50 w 121"/>
                <a:gd name="T3" fmla="*/ 119 h 119"/>
                <a:gd name="T4" fmla="*/ 50 w 121"/>
                <a:gd name="T5" fmla="*/ 71 h 119"/>
                <a:gd name="T6" fmla="*/ 0 w 121"/>
                <a:gd name="T7" fmla="*/ 71 h 119"/>
                <a:gd name="T8" fmla="*/ 0 w 121"/>
                <a:gd name="T9" fmla="*/ 49 h 119"/>
                <a:gd name="T10" fmla="*/ 50 w 121"/>
                <a:gd name="T11" fmla="*/ 49 h 119"/>
                <a:gd name="T12" fmla="*/ 50 w 121"/>
                <a:gd name="T13" fmla="*/ 0 h 119"/>
                <a:gd name="T14" fmla="*/ 71 w 121"/>
                <a:gd name="T15" fmla="*/ 0 h 119"/>
                <a:gd name="T16" fmla="*/ 71 w 121"/>
                <a:gd name="T17" fmla="*/ 49 h 119"/>
                <a:gd name="T18" fmla="*/ 121 w 121"/>
                <a:gd name="T19" fmla="*/ 49 h 119"/>
                <a:gd name="T20" fmla="*/ 121 w 121"/>
                <a:gd name="T21" fmla="*/ 71 h 119"/>
                <a:gd name="T22" fmla="*/ 71 w 121"/>
                <a:gd name="T23" fmla="*/ 71 h 119"/>
                <a:gd name="T24" fmla="*/ 71 w 121"/>
                <a:gd name="T25"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1" h="119">
                  <a:moveTo>
                    <a:pt x="71" y="119"/>
                  </a:moveTo>
                  <a:lnTo>
                    <a:pt x="50" y="119"/>
                  </a:lnTo>
                  <a:lnTo>
                    <a:pt x="50" y="71"/>
                  </a:lnTo>
                  <a:lnTo>
                    <a:pt x="0" y="71"/>
                  </a:lnTo>
                  <a:lnTo>
                    <a:pt x="0" y="49"/>
                  </a:lnTo>
                  <a:lnTo>
                    <a:pt x="50" y="49"/>
                  </a:lnTo>
                  <a:lnTo>
                    <a:pt x="50" y="0"/>
                  </a:lnTo>
                  <a:lnTo>
                    <a:pt x="71" y="0"/>
                  </a:lnTo>
                  <a:lnTo>
                    <a:pt x="71" y="49"/>
                  </a:lnTo>
                  <a:lnTo>
                    <a:pt x="121" y="49"/>
                  </a:lnTo>
                  <a:lnTo>
                    <a:pt x="121" y="71"/>
                  </a:lnTo>
                  <a:lnTo>
                    <a:pt x="71" y="71"/>
                  </a:lnTo>
                  <a:lnTo>
                    <a:pt x="71" y="119"/>
                  </a:lnTo>
                  <a:close/>
                </a:path>
              </a:pathLst>
            </a:custGeom>
            <a:solidFill>
              <a:schemeClr val="bg1">
                <a:lumMod val="50000"/>
              </a:schemeClr>
            </a:solidFill>
            <a:ln>
              <a:noFill/>
            </a:ln>
            <a:extLst/>
          </p:spPr>
          <p:txBody>
            <a:bodyPr vert="horz" wrap="square" lIns="89611" tIns="44805" rIns="89611" bIns="44805" numCol="1" anchor="t" anchorCtr="0" compatLnSpc="1">
              <a:prstTxWarp prst="textNoShape">
                <a:avLst/>
              </a:prstTxWarp>
            </a:bodyPr>
            <a:lstStyle/>
            <a:p>
              <a:pPr defTabSz="895999" fontAlgn="base">
                <a:spcBef>
                  <a:spcPct val="0"/>
                </a:spcBef>
                <a:spcAft>
                  <a:spcPct val="0"/>
                </a:spcAft>
              </a:pPr>
              <a:endParaRPr lang="en-US" sz="2745" dirty="0">
                <a:solidFill>
                  <a:srgbClr val="000000"/>
                </a:solidFill>
                <a:ea typeface="MS PGothic" charset="0"/>
              </a:endParaRPr>
            </a:p>
          </p:txBody>
        </p:sp>
      </p:grpSp>
    </p:spTree>
    <p:extLst>
      <p:ext uri="{BB962C8B-B14F-4D97-AF65-F5344CB8AC3E}">
        <p14:creationId xmlns:p14="http://schemas.microsoft.com/office/powerpoint/2010/main" val="165311401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250"/>
                                        <p:tgtEl>
                                          <p:spTgt spid="33"/>
                                        </p:tgtEl>
                                      </p:cBhvr>
                                    </p:animEffect>
                                  </p:childTnLst>
                                </p:cTn>
                              </p:par>
                              <p:par>
                                <p:cTn id="8" presetID="63" presetClass="path" presetSubtype="0" decel="100000" fill="hold" nodeType="withEffect">
                                  <p:stCondLst>
                                    <p:cond delay="0"/>
                                  </p:stCondLst>
                                  <p:childTnLst>
                                    <p:animMotion origin="layout" path="M -0.02718 -6.7635E-7 L -2.04238E-6 -6.7635E-7 " pathEditMode="relative" rAng="0" ptsTypes="AA">
                                      <p:cBhvr>
                                        <p:cTn id="9" dur="500" fill="hold"/>
                                        <p:tgtEl>
                                          <p:spTgt spid="33"/>
                                        </p:tgtEl>
                                        <p:attrNameLst>
                                          <p:attrName>ppt_x</p:attrName>
                                          <p:attrName>ppt_y</p:attrName>
                                        </p:attrNameLst>
                                      </p:cBhvr>
                                      <p:rCtr x="1557" y="0"/>
                                    </p:animMotion>
                                  </p:childTnLst>
                                </p:cTn>
                              </p:par>
                              <p:par>
                                <p:cTn id="10" presetID="2" presetClass="entr" presetSubtype="8" decel="100000" fill="hold" grpId="0" nodeType="withEffect">
                                  <p:stCondLst>
                                    <p:cond delay="0"/>
                                  </p:stCondLst>
                                  <p:childTnLst>
                                    <p:set>
                                      <p:cBhvr>
                                        <p:cTn id="11" dur="1" fill="hold">
                                          <p:stCondLst>
                                            <p:cond delay="0"/>
                                          </p:stCondLst>
                                        </p:cTn>
                                        <p:tgtEl>
                                          <p:spTgt spid="26"/>
                                        </p:tgtEl>
                                        <p:attrNameLst>
                                          <p:attrName>style.visibility</p:attrName>
                                        </p:attrNameLst>
                                      </p:cBhvr>
                                      <p:to>
                                        <p:strVal val="visible"/>
                                      </p:to>
                                    </p:set>
                                    <p:anim calcmode="lin" valueType="num">
                                      <p:cBhvr additive="base">
                                        <p:cTn id="12" dur="750" fill="hold"/>
                                        <p:tgtEl>
                                          <p:spTgt spid="26"/>
                                        </p:tgtEl>
                                        <p:attrNameLst>
                                          <p:attrName>ppt_x</p:attrName>
                                        </p:attrNameLst>
                                      </p:cBhvr>
                                      <p:tavLst>
                                        <p:tav tm="0">
                                          <p:val>
                                            <p:strVal val="0-#ppt_w/2"/>
                                          </p:val>
                                        </p:tav>
                                        <p:tav tm="100000">
                                          <p:val>
                                            <p:strVal val="#ppt_x"/>
                                          </p:val>
                                        </p:tav>
                                      </p:tavLst>
                                    </p:anim>
                                    <p:anim calcmode="lin" valueType="num">
                                      <p:cBhvr additive="base">
                                        <p:cTn id="13" dur="750" fill="hold"/>
                                        <p:tgtEl>
                                          <p:spTgt spid="26"/>
                                        </p:tgtEl>
                                        <p:attrNameLst>
                                          <p:attrName>ppt_y</p:attrName>
                                        </p:attrNameLst>
                                      </p:cBhvr>
                                      <p:tavLst>
                                        <p:tav tm="0">
                                          <p:val>
                                            <p:strVal val="#ppt_y"/>
                                          </p:val>
                                        </p:tav>
                                        <p:tav tm="100000">
                                          <p:val>
                                            <p:strVal val="#ppt_y"/>
                                          </p:val>
                                        </p:tav>
                                      </p:tavLst>
                                    </p:anim>
                                  </p:childTnLst>
                                </p:cTn>
                              </p:par>
                              <p:par>
                                <p:cTn id="14" presetID="16" presetClass="entr" presetSubtype="42" fill="hold" grpId="0" nodeType="withEffect">
                                  <p:stCondLst>
                                    <p:cond delay="500"/>
                                  </p:stCondLst>
                                  <p:childTnLst>
                                    <p:set>
                                      <p:cBhvr>
                                        <p:cTn id="15" dur="1" fill="hold">
                                          <p:stCondLst>
                                            <p:cond delay="0"/>
                                          </p:stCondLst>
                                        </p:cTn>
                                        <p:tgtEl>
                                          <p:spTgt spid="36"/>
                                        </p:tgtEl>
                                        <p:attrNameLst>
                                          <p:attrName>style.visibility</p:attrName>
                                        </p:attrNameLst>
                                      </p:cBhvr>
                                      <p:to>
                                        <p:strVal val="visible"/>
                                      </p:to>
                                    </p:set>
                                    <p:animEffect transition="in" filter="barn(outHorizontal)">
                                      <p:cBhvr>
                                        <p:cTn id="16" dur="500"/>
                                        <p:tgtEl>
                                          <p:spTgt spid="36"/>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par>
                          <p:cTn id="20" fill="hold">
                            <p:stCondLst>
                              <p:cond delay="1500"/>
                            </p:stCondLst>
                            <p:childTnLst>
                              <p:par>
                                <p:cTn id="21" presetID="10" presetClass="entr" presetSubtype="0" fill="hold"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250"/>
                                        <p:tgtEl>
                                          <p:spTgt spid="7"/>
                                        </p:tgtEl>
                                      </p:cBhvr>
                                    </p:animEffect>
                                  </p:childTnLst>
                                </p:cTn>
                              </p:par>
                              <p:par>
                                <p:cTn id="24" presetID="10" presetClass="entr" presetSubtype="0" fill="hold" nodeType="withEffect">
                                  <p:stCondLst>
                                    <p:cond delay="0"/>
                                  </p:stCondLst>
                                  <p:childTnLst>
                                    <p:set>
                                      <p:cBhvr>
                                        <p:cTn id="25" dur="1" fill="hold">
                                          <p:stCondLst>
                                            <p:cond delay="0"/>
                                          </p:stCondLst>
                                        </p:cTn>
                                        <p:tgtEl>
                                          <p:spTgt spid="5"/>
                                        </p:tgtEl>
                                        <p:attrNameLst>
                                          <p:attrName>style.visibility</p:attrName>
                                        </p:attrNameLst>
                                      </p:cBhvr>
                                      <p:to>
                                        <p:strVal val="visible"/>
                                      </p:to>
                                    </p:set>
                                    <p:animEffect transition="in" filter="fade">
                                      <p:cBhvr>
                                        <p:cTn id="26" dur="250"/>
                                        <p:tgtEl>
                                          <p:spTgt spid="5"/>
                                        </p:tgtEl>
                                      </p:cBhvr>
                                    </p:animEffect>
                                  </p:childTnLst>
                                </p:cTn>
                              </p:par>
                              <p:par>
                                <p:cTn id="27" presetID="1" presetClass="entr" presetSubtype="0" fill="hold" grpId="1" nodeType="with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par>
                                <p:cTn id="29" presetID="1" presetClass="entr" presetSubtype="0" fill="hold" grpId="1" nodeType="with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par>
                                <p:cTn id="31" presetID="64" presetClass="path" presetSubtype="0" decel="100000" fill="hold" grpId="0" nodeType="withEffect">
                                  <p:stCondLst>
                                    <p:cond delay="0"/>
                                  </p:stCondLst>
                                  <p:childTnLst>
                                    <p:animMotion origin="layout" path="M -4.30687E-6 0.26736 L -4.30687E-6 2.01089E-6 " pathEditMode="relative" rAng="0" ptsTypes="AA">
                                      <p:cBhvr>
                                        <p:cTn id="32" dur="500" fill="hold"/>
                                        <p:tgtEl>
                                          <p:spTgt spid="16"/>
                                        </p:tgtEl>
                                        <p:attrNameLst>
                                          <p:attrName>ppt_x</p:attrName>
                                          <p:attrName>ppt_y</p:attrName>
                                        </p:attrNameLst>
                                      </p:cBhvr>
                                      <p:rCtr x="0" y="-13368"/>
                                    </p:animMotion>
                                  </p:childTnLst>
                                </p:cTn>
                              </p:par>
                              <p:par>
                                <p:cTn id="33" presetID="64" presetClass="path" presetSubtype="0" accel="18000" decel="82000" fill="hold" grpId="0" nodeType="withEffect">
                                  <p:stCondLst>
                                    <p:cond delay="0"/>
                                  </p:stCondLst>
                                  <p:childTnLst>
                                    <p:animMotion origin="layout" path="M -4.30687E-6 -0.25783 L -4.30687E-6 4.43032E-6 " pathEditMode="relative" rAng="0" ptsTypes="AA">
                                      <p:cBhvr>
                                        <p:cTn id="34" dur="500" fill="hold"/>
                                        <p:tgtEl>
                                          <p:spTgt spid="13"/>
                                        </p:tgtEl>
                                        <p:attrNameLst>
                                          <p:attrName>ppt_x</p:attrName>
                                          <p:attrName>ppt_y</p:attrName>
                                        </p:attrNameLst>
                                      </p:cBhvr>
                                      <p:rCtr x="0" y="12892"/>
                                    </p:animMotion>
                                  </p:childTnLst>
                                </p:cTn>
                              </p:par>
                              <p:par>
                                <p:cTn id="35" presetID="16" presetClass="entr" presetSubtype="26" fill="hold" grpId="0" nodeType="withEffect">
                                  <p:stCondLst>
                                    <p:cond delay="250"/>
                                  </p:stCondLst>
                                  <p:childTnLst>
                                    <p:set>
                                      <p:cBhvr>
                                        <p:cTn id="36" dur="1" fill="hold">
                                          <p:stCondLst>
                                            <p:cond delay="0"/>
                                          </p:stCondLst>
                                        </p:cTn>
                                        <p:tgtEl>
                                          <p:spTgt spid="37"/>
                                        </p:tgtEl>
                                        <p:attrNameLst>
                                          <p:attrName>style.visibility</p:attrName>
                                        </p:attrNameLst>
                                      </p:cBhvr>
                                      <p:to>
                                        <p:strVal val="visible"/>
                                      </p:to>
                                    </p:set>
                                    <p:animEffect transition="in" filter="barn(inHorizontal)">
                                      <p:cBhvr>
                                        <p:cTn id="37" dur="500"/>
                                        <p:tgtEl>
                                          <p:spTgt spid="37"/>
                                        </p:tgtEl>
                                      </p:cBhvr>
                                    </p:animEffect>
                                  </p:childTnLst>
                                </p:cTn>
                              </p:par>
                              <p:par>
                                <p:cTn id="38" presetID="10" presetClass="entr" presetSubtype="0" fill="hold" nodeType="withEffect">
                                  <p:stCondLst>
                                    <p:cond delay="500"/>
                                  </p:stCondLst>
                                  <p:childTnLst>
                                    <p:set>
                                      <p:cBhvr>
                                        <p:cTn id="39" dur="1" fill="hold">
                                          <p:stCondLst>
                                            <p:cond delay="0"/>
                                          </p:stCondLst>
                                        </p:cTn>
                                        <p:tgtEl>
                                          <p:spTgt spid="11"/>
                                        </p:tgtEl>
                                        <p:attrNameLst>
                                          <p:attrName>style.visibility</p:attrName>
                                        </p:attrNameLst>
                                      </p:cBhvr>
                                      <p:to>
                                        <p:strVal val="visible"/>
                                      </p:to>
                                    </p:set>
                                    <p:animEffect transition="in" filter="fade">
                                      <p:cBhvr>
                                        <p:cTn id="40" dur="250"/>
                                        <p:tgtEl>
                                          <p:spTgt spid="11"/>
                                        </p:tgtEl>
                                      </p:cBhvr>
                                    </p:animEffect>
                                  </p:childTnLst>
                                </p:cTn>
                              </p:par>
                              <p:par>
                                <p:cTn id="41" presetID="42" presetClass="path" presetSubtype="0" decel="100000" fill="hold" nodeType="withEffect">
                                  <p:stCondLst>
                                    <p:cond delay="500"/>
                                  </p:stCondLst>
                                  <p:childTnLst>
                                    <p:animMotion origin="layout" path="M -0.05055 -0.00363 L -0.00051 -0.00476 " pathEditMode="relative" rAng="0" ptsTypes="AA">
                                      <p:cBhvr>
                                        <p:cTn id="42" dur="500" fill="hold"/>
                                        <p:tgtEl>
                                          <p:spTgt spid="11"/>
                                        </p:tgtEl>
                                        <p:attrNameLst>
                                          <p:attrName>ppt_x</p:attrName>
                                          <p:attrName>ppt_y</p:attrName>
                                        </p:attrNameLst>
                                      </p:cBhvr>
                                      <p:rCtr x="2502" y="-6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26" grpId="0" animBg="1"/>
      <p:bldP spid="13" grpId="0" animBg="1"/>
      <p:bldP spid="13" grpId="1" animBg="1"/>
      <p:bldP spid="16" grpId="0" animBg="1"/>
      <p:bldP spid="16" grpId="1" animBg="1"/>
      <p:bldP spid="37" grpId="0" animBg="1"/>
      <p:bldP spid="15"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5086526" y="-871809"/>
            <a:ext cx="2819048" cy="590476"/>
          </a:xfrm>
          <a:prstGeom prst="rect">
            <a:avLst/>
          </a:prstGeom>
        </p:spPr>
      </p:pic>
      <p:sp>
        <p:nvSpPr>
          <p:cNvPr id="8" name="Content Placeholder 2"/>
          <p:cNvSpPr txBox="1">
            <a:spLocks/>
          </p:cNvSpPr>
          <p:nvPr/>
        </p:nvSpPr>
        <p:spPr>
          <a:xfrm>
            <a:off x="269239" y="1372061"/>
            <a:ext cx="5886412" cy="5135908"/>
          </a:xfrm>
          <a:prstGeom prst="rect">
            <a:avLst/>
          </a:prstGeom>
        </p:spPr>
        <p:txBody>
          <a:bodyPr>
            <a:norm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Font typeface="Arial" pitchFamily="34" charset="0"/>
              <a:buNone/>
            </a:pPr>
            <a:endParaRPr lang="en-US" dirty="0">
              <a:latin typeface="Segoe UI Light" panose="020B0502040204020203" pitchFamily="34" charset="0"/>
              <a:cs typeface="Segoe UI Light" panose="020B0502040204020203" pitchFamily="34" charset="0"/>
            </a:endParaRPr>
          </a:p>
          <a:p>
            <a:pPr lvl="1"/>
            <a:endParaRPr lang="en-US" dirty="0">
              <a:latin typeface="Segoe UI Light" panose="020B0502040204020203" pitchFamily="34" charset="0"/>
              <a:cs typeface="Segoe UI Light" panose="020B0502040204020203" pitchFamily="34" charset="0"/>
            </a:endParaRPr>
          </a:p>
          <a:p>
            <a:endParaRPr lang="en-US" dirty="0">
              <a:latin typeface="Segoe UI Light" panose="020B0502040204020203" pitchFamily="34" charset="0"/>
              <a:cs typeface="Segoe UI Light" panose="020B0502040204020203" pitchFamily="34" charset="0"/>
            </a:endParaRPr>
          </a:p>
        </p:txBody>
      </p:sp>
      <p:sp>
        <p:nvSpPr>
          <p:cNvPr id="4" name="Title 3"/>
          <p:cNvSpPr>
            <a:spLocks noGrp="1"/>
          </p:cNvSpPr>
          <p:nvPr>
            <p:ph type="title"/>
          </p:nvPr>
        </p:nvSpPr>
        <p:spPr/>
        <p:txBody>
          <a:bodyPr/>
          <a:lstStyle/>
          <a:p>
            <a:r>
              <a:rPr lang="en-US" dirty="0"/>
              <a:t>Data Science</a:t>
            </a:r>
          </a:p>
        </p:txBody>
      </p:sp>
      <p:sp>
        <p:nvSpPr>
          <p:cNvPr id="7" name="Text Placeholder 6"/>
          <p:cNvSpPr>
            <a:spLocks noGrp="1"/>
          </p:cNvSpPr>
          <p:nvPr>
            <p:ph type="body" sz="quarter" idx="10"/>
          </p:nvPr>
        </p:nvSpPr>
        <p:spPr>
          <a:xfrm>
            <a:off x="269239" y="1068154"/>
            <a:ext cx="11653523" cy="572464"/>
          </a:xfrm>
        </p:spPr>
        <p:txBody>
          <a:bodyPr/>
          <a:lstStyle/>
          <a:p>
            <a:pPr marL="0" indent="0">
              <a:buNone/>
            </a:pPr>
            <a:r>
              <a:rPr lang="en-US" sz="2800" dirty="0"/>
              <a:t>The study of data to extract actionable insights and relevant information</a:t>
            </a:r>
          </a:p>
        </p:txBody>
      </p:sp>
      <p:pic>
        <p:nvPicPr>
          <p:cNvPr id="2050" name="Picture 2" descr="http://www.gammanalytics.com/assets/img/services/DataScienc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42708" y="2209866"/>
            <a:ext cx="7130052" cy="37438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1237753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485116" y="2019849"/>
            <a:ext cx="5028902" cy="2769989"/>
          </a:xfrm>
        </p:spPr>
        <p:txBody>
          <a:bodyPr/>
          <a:lstStyle/>
          <a:p>
            <a:pPr marL="0" indent="0">
              <a:buNone/>
            </a:pPr>
            <a:r>
              <a:rPr lang="en-US" sz="4000" dirty="0"/>
              <a:t>Algorithm = Recipe</a:t>
            </a:r>
          </a:p>
          <a:p>
            <a:pPr marL="0" indent="0">
              <a:buNone/>
            </a:pPr>
            <a:r>
              <a:rPr lang="en-US" sz="4000" dirty="0"/>
              <a:t>Data = Ingredients</a:t>
            </a:r>
          </a:p>
          <a:p>
            <a:pPr marL="0" indent="0">
              <a:buNone/>
            </a:pPr>
            <a:r>
              <a:rPr lang="en-US" sz="4000" dirty="0"/>
              <a:t>Computer = Blender</a:t>
            </a:r>
          </a:p>
          <a:p>
            <a:pPr marL="0" indent="0">
              <a:buNone/>
            </a:pPr>
            <a:r>
              <a:rPr lang="en-US" sz="4000" dirty="0"/>
              <a:t>Answer = Smoothie</a:t>
            </a:r>
          </a:p>
        </p:txBody>
      </p:sp>
      <p:sp>
        <p:nvSpPr>
          <p:cNvPr id="3" name="Title 2"/>
          <p:cNvSpPr>
            <a:spLocks noGrp="1"/>
          </p:cNvSpPr>
          <p:nvPr>
            <p:ph type="title"/>
          </p:nvPr>
        </p:nvSpPr>
        <p:spPr/>
        <p:txBody>
          <a:bodyPr/>
          <a:lstStyle/>
          <a:p>
            <a:r>
              <a:rPr lang="en-US" dirty="0">
                <a:solidFill>
                  <a:schemeClr val="tx2"/>
                </a:solidFill>
              </a:rPr>
              <a:t>[main] How does it work?</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98794" y="1871329"/>
            <a:ext cx="2878168" cy="2878168"/>
          </a:xfrm>
          <a:prstGeom prst="rect">
            <a:avLst/>
          </a:prstGeom>
        </p:spPr>
      </p:pic>
    </p:spTree>
    <p:extLst>
      <p:ext uri="{BB962C8B-B14F-4D97-AF65-F5344CB8AC3E}">
        <p14:creationId xmlns:p14="http://schemas.microsoft.com/office/powerpoint/2010/main" val="66719366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177"/>
            <a:ext cx="11653523" cy="3382529"/>
          </a:xfrm>
        </p:spPr>
        <p:txBody>
          <a:bodyPr/>
          <a:lstStyle/>
          <a:p>
            <a:pPr marL="742950" indent="-742950">
              <a:buAutoNum type="arabicPeriod"/>
            </a:pPr>
            <a:r>
              <a:rPr lang="en-US" dirty="0"/>
              <a:t>Is this A or B?</a:t>
            </a:r>
          </a:p>
          <a:p>
            <a:pPr marL="742950" indent="-742950">
              <a:buAutoNum type="arabicPeriod"/>
            </a:pPr>
            <a:r>
              <a:rPr lang="en-US" dirty="0"/>
              <a:t>Is this weird?</a:t>
            </a:r>
          </a:p>
          <a:p>
            <a:pPr marL="742950" indent="-742950">
              <a:buAutoNum type="arabicPeriod"/>
            </a:pPr>
            <a:r>
              <a:rPr lang="en-US" dirty="0"/>
              <a:t>How much or how many?</a:t>
            </a:r>
          </a:p>
          <a:p>
            <a:pPr marL="742950" indent="-742950">
              <a:buAutoNum type="arabicPeriod"/>
            </a:pPr>
            <a:r>
              <a:rPr lang="en-US" dirty="0"/>
              <a:t>How is this organized?</a:t>
            </a:r>
          </a:p>
          <a:p>
            <a:pPr marL="742950" indent="-742950">
              <a:buAutoNum type="arabicPeriod"/>
            </a:pPr>
            <a:r>
              <a:rPr lang="en-US" dirty="0"/>
              <a:t>What should I do next?</a:t>
            </a:r>
          </a:p>
        </p:txBody>
      </p:sp>
      <p:sp>
        <p:nvSpPr>
          <p:cNvPr id="3" name="Title 2"/>
          <p:cNvSpPr>
            <a:spLocks noGrp="1"/>
          </p:cNvSpPr>
          <p:nvPr>
            <p:ph type="title"/>
          </p:nvPr>
        </p:nvSpPr>
        <p:spPr/>
        <p:txBody>
          <a:bodyPr/>
          <a:lstStyle/>
          <a:p>
            <a:r>
              <a:rPr lang="en-US" dirty="0">
                <a:solidFill>
                  <a:schemeClr val="tx2"/>
                </a:solidFill>
              </a:rPr>
              <a:t>[main] 5 questions data science can answer</a:t>
            </a:r>
            <a:br>
              <a:rPr lang="en-US" dirty="0">
                <a:solidFill>
                  <a:schemeClr val="tx2"/>
                </a:solidFill>
              </a:rPr>
            </a:br>
            <a:endParaRPr lang="en-US" dirty="0">
              <a:solidFill>
                <a:schemeClr val="tx2"/>
              </a:solidFill>
            </a:endParaRPr>
          </a:p>
        </p:txBody>
      </p:sp>
    </p:spTree>
    <p:extLst>
      <p:ext uri="{BB962C8B-B14F-4D97-AF65-F5344CB8AC3E}">
        <p14:creationId xmlns:p14="http://schemas.microsoft.com/office/powerpoint/2010/main" val="201271433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Classification algorithms: Is this A or B?"/>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
            <a:ext cx="12192000" cy="5607424"/>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0" y="5607426"/>
            <a:ext cx="12192000" cy="911019"/>
          </a:xfrm>
          <a:prstGeom prst="rect">
            <a:avLst/>
          </a:prstGeom>
          <a:noFill/>
        </p:spPr>
        <p:txBody>
          <a:bodyPr wrap="square" lIns="182880" tIns="146304" rIns="182880" bIns="146304" rtlCol="0">
            <a:spAutoFit/>
          </a:bodyPr>
          <a:lstStyle/>
          <a:p>
            <a:r>
              <a:rPr lang="en-US" sz="2000" dirty="0"/>
              <a:t>Will this tire fail in the next 1,000 miles: Yes or no?</a:t>
            </a:r>
          </a:p>
          <a:p>
            <a:r>
              <a:rPr lang="en-US" sz="2000" dirty="0"/>
              <a:t>Which brings in more customers: a $5 coupon or a 25% discount?</a:t>
            </a:r>
          </a:p>
        </p:txBody>
      </p:sp>
    </p:spTree>
    <p:extLst>
      <p:ext uri="{BB962C8B-B14F-4D97-AF65-F5344CB8AC3E}">
        <p14:creationId xmlns:p14="http://schemas.microsoft.com/office/powerpoint/2010/main" val="59405764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Anomaly Detection algorithms: Is this weird?"/>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537210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0" y="5405720"/>
            <a:ext cx="12192000" cy="911019"/>
          </a:xfrm>
          <a:prstGeom prst="rect">
            <a:avLst/>
          </a:prstGeom>
          <a:noFill/>
        </p:spPr>
        <p:txBody>
          <a:bodyPr wrap="square" lIns="182880" tIns="146304" rIns="182880" bIns="146304" rtlCol="0">
            <a:spAutoFit/>
          </a:bodyPr>
          <a:lstStyle/>
          <a:p>
            <a:r>
              <a:rPr lang="en-US" sz="2000" dirty="0"/>
              <a:t>If you have a car with pressure gauges, you might want to know: Is this pressure gauge reading normal?</a:t>
            </a:r>
          </a:p>
          <a:p>
            <a:r>
              <a:rPr lang="en-US" sz="2000" dirty="0"/>
              <a:t>If you're monitoring the internet, you’d want to know: Is this message from the internet typical?</a:t>
            </a:r>
          </a:p>
        </p:txBody>
      </p:sp>
    </p:spTree>
    <p:extLst>
      <p:ext uri="{BB962C8B-B14F-4D97-AF65-F5344CB8AC3E}">
        <p14:creationId xmlns:p14="http://schemas.microsoft.com/office/powerpoint/2010/main" val="89446168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4" name="Picture 4" descr="Regression algorithms: How much? or How many?"/>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5983941"/>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0" y="5946981"/>
            <a:ext cx="12192000" cy="849463"/>
          </a:xfrm>
          <a:prstGeom prst="rect">
            <a:avLst/>
          </a:prstGeom>
          <a:noFill/>
        </p:spPr>
        <p:txBody>
          <a:bodyPr wrap="square" lIns="182880" tIns="146304" rIns="182880" bIns="146304" rtlCol="0">
            <a:spAutoFit/>
          </a:bodyPr>
          <a:lstStyle/>
          <a:p>
            <a:r>
              <a:rPr lang="en-US" dirty="0"/>
              <a:t>What will the temperature be next Tuesday?</a:t>
            </a:r>
          </a:p>
          <a:p>
            <a:r>
              <a:rPr lang="en-US" dirty="0"/>
              <a:t>What will my fourth quarter sales be?</a:t>
            </a:r>
          </a:p>
        </p:txBody>
      </p:sp>
    </p:spTree>
    <p:extLst>
      <p:ext uri="{BB962C8B-B14F-4D97-AF65-F5344CB8AC3E}">
        <p14:creationId xmlns:p14="http://schemas.microsoft.com/office/powerpoint/2010/main" val="290940290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30721_Build_2016_Template_Light">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2DD1E4E3-0871-45BE-BEDE-345B55444DCB}"/>
    </a:ext>
  </a:extLst>
</a:theme>
</file>

<file path=ppt/theme/theme2.xml><?xml version="1.0" encoding="utf-8"?>
<a:theme xmlns:a="http://schemas.openxmlformats.org/drawingml/2006/main" name="1_Azure Medium">
  <a:themeElements>
    <a:clrScheme name="Custom 2">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FFFFFF"/>
      </a:hlink>
      <a:folHlink>
        <a:srgbClr val="FFFFFF"/>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zure Medium">
  <a:themeElements>
    <a:clrScheme name="Azure Basic">
      <a:dk1>
        <a:srgbClr val="00B0F0"/>
      </a:dk1>
      <a:lt1>
        <a:srgbClr val="FFFFFF"/>
      </a:lt1>
      <a:dk2>
        <a:srgbClr val="44546A"/>
      </a:dk2>
      <a:lt2>
        <a:srgbClr val="FFFFFF"/>
      </a:lt2>
      <a:accent1>
        <a:srgbClr val="00B0F0"/>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Windows Azur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Bot Framework Overview Deck - Bot Framework provides everything you need to build and connect intelligent bots that interact naturally wherever your users are talking, from text/sms to Skype, Slack, Office 365 mail and other popular services.</DocumentDescription>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customer presentations</TermName>
          <TermId xmlns="http://schemas.microsoft.com/office/infopath/2007/PartnerControls">18e9ae94-e321-4eea-82d2-ad5b2f470f3c</TermId>
        </TermInfo>
        <TermInfo xmlns="http://schemas.microsoft.com/office/infopath/2007/PartnerControls">
          <TermName xmlns="http://schemas.microsoft.com/office/infopath/2007/PartnerControls">feedback requests</TermName>
          <TermId xmlns="http://schemas.microsoft.com/office/infopath/2007/PartnerControls">00ce1828-98a3-430e-af54-eda270e1be04</TermId>
        </TermInfo>
      </Terms>
    </hd9637eefc984b85b6097c6374e15725>
    <od9986d31974458fb3007746ec0bce5f xmlns="230e9df3-be65-4c73-a93b-d1236ebd677e">
      <Terms xmlns="http://schemas.microsoft.com/office/infopath/2007/PartnerControls"/>
    </od9986d31974458fb3007746ec0bce5f>
    <k20e0dfa74bf4e44818db03027b0ccd8 xmlns="230e9df3-be65-4c73-a93b-d1236ebd677e">
      <Terms xmlns="http://schemas.microsoft.com/office/infopath/2007/PartnerControls"/>
    </k20e0dfa74bf4e44818db03027b0ccd8>
    <Owner xmlns="230e9df3-be65-4c73-a93b-d1236ebd677e">
      <UserInfo>
        <DisplayName>Anu Kohli</DisplayName>
        <AccountId>629</AccountId>
        <AccountType/>
      </UserInfo>
    </Owner>
    <PublishDate xmlns="230E9DF3-BE65-4C73-A93B-D1236EBD677E" xsi:nil="true"/>
    <k21a64daf20d4502b2796a1c6b8ce6c8 xmlns="230e9df3-be65-4c73-a93b-d1236ebd677e">
      <Terms xmlns="http://schemas.microsoft.com/office/infopath/2007/PartnerControls"/>
    </k21a64daf20d4502b2796a1c6b8ce6c8>
    <GenericHTML1 xmlns="230e9df3-be65-4c73-a93b-d1236ebd677e" xsi:nil="true"/>
    <ConfidentialityTaxHTField0 xmlns="230e9df3-be65-4c73-a93b-d1236ebd677e">
      <Terms xmlns="http://schemas.microsoft.com/office/infopath/2007/PartnerControls">
        <TermInfo xmlns="http://schemas.microsoft.com/office/infopath/2007/PartnerControls">
          <TermName xmlns="http://schemas.microsoft.com/office/infopath/2007/PartnerControls">Microsoft confidential</TermName>
          <TermId xmlns="http://schemas.microsoft.com/office/infopath/2007/PartnerControls">461efa83-0283-486a-a8d5-943328f3693f</TermId>
        </TermInfo>
      </Terms>
    </ConfidentialityTaxHTField0>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Microsoft Azure Marketing</TermName>
          <TermId xmlns="http://schemas.microsoft.com/office/infopath/2007/PartnerControls">0958c357-5252-473f-8b4e-42f27525a99d</TermId>
        </TermInfo>
      </Terms>
    </l3c3ea61849e4288a8acc49bb5388e8c>
    <Blog_x0020_Name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Info xmlns="http://schemas.microsoft.com/office/infopath/2007/PartnerControls">
          <TermName xmlns="http://schemas.microsoft.com/office/infopath/2007/PartnerControls">Microsoft Azure Domain</TermName>
          <TermId xmlns="http://schemas.microsoft.com/office/infopath/2007/PartnerControls">d600a391-d529-4311-892b-2c05c1ab2538</TermId>
        </TermInfo>
      </Terms>
    </eb54ac91059940029a3cc8a4ff5af673>
    <PublishingPageContent xmlns="http://schemas.microsoft.com/sharepoint/v3" xsi:nil="true"/>
    <ContentID xmlns="230e9df3-be65-4c73-a93b-d1236ebd677e" xsi:nil="true"/>
    <Coowner xmlns="230e9df3-be65-4c73-a93b-d1236ebd677e">
      <UserInfo>
        <DisplayName>i:0#.f|membership|v-danaja@microsoft.com</DisplayName>
        <AccountId>176</AccountId>
        <AccountType/>
      </UserInfo>
      <UserInfo>
        <DisplayName>i:0#.f|membership|v-anmarv@microsoft.com</DisplayName>
        <AccountId>45</AccountId>
        <AccountType/>
      </UserInfo>
      <UserInfo>
        <DisplayName>i:0#.f|membership|v-caicha@microsoft.com</DisplayName>
        <AccountId>637</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Microsoft Azure</TermName>
          <TermId xmlns="http://schemas.microsoft.com/office/infopath/2007/PartnerControls">669a3112-5edf-444b-a003-630063601f07</TermId>
        </TermInfo>
        <TermInfo xmlns="http://schemas.microsoft.com/office/infopath/2007/PartnerControls">
          <TermName xmlns="http://schemas.microsoft.com/office/infopath/2007/PartnerControls">Cortana</TermName>
          <TermId xmlns="http://schemas.microsoft.com/office/infopath/2007/PartnerControls">9ddf2d0d-10f8-4f45-a03c-9a1a5aa2df6a</TermId>
        </TermInfo>
      </Terms>
    </bf80e81150e248c48aa8cffdf0021a1f>
    <ec5b2ad5c27b45fb8a00a1f27c7ce1ae xmlns="230e9df3-be65-4c73-a93b-d1236ebd677e">
      <Terms xmlns="http://schemas.microsoft.com/office/infopath/2007/PartnerControls"/>
    </ec5b2ad5c27b45fb8a00a1f27c7ce1ae>
    <RatingCount xmlns="http://schemas.microsoft.com/sharepoint/v3" xsi:nil="tru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1-15426/Bot%20Framework%20Overview%20Deck.png</Url>
      <Description>/sites/Infopedia_G01KC/Media/Thumbnails/G01KC-1-15426/Bot Framework Overview Deck.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machine learning</TermName>
          <TermId xmlns="http://schemas.microsoft.com/office/infopath/2007/PartnerControls">912b89bd-3197-4d37-838b-dea3c299099a</TermId>
        </TermInfo>
      </Terms>
    </i0d941ee1e744ffea7aeee9924c91cbb>
    <RoutingRuleDescription xmlns="http://schemas.microsoft.com/sharepoint/v3" xsi:nil="true"/>
    <PublishingExpirationDate xmlns="http://schemas.microsoft.com/sharepoint/v3" xsi:nil="true"/>
    <AverageRating xmlns="http://schemas.microsoft.com/sharepoint/v3" xsi:nil="true"/>
    <TaxKeywordTaxHTField xmlns="230e9df3-be65-4c73-a93b-d1236ebd677e">
      <Terms xmlns="http://schemas.microsoft.com/office/infopath/2007/PartnerControls"/>
    </TaxKeywordTaxHTField>
    <ReportOwner xmlns="http://schemas.microsoft.com/sharepoint/v3">
      <UserInfo>
        <DisplayName/>
        <AccountId xsi:nil="true"/>
        <AccountType/>
      </UserInfo>
    </ReportOwner>
    <i1b478372f814787abd313030b81fcb2 xmlns="230e9df3-be65-4c73-a93b-d1236ebd677e">
      <Terms xmlns="http://schemas.microsoft.com/office/infopath/2007/PartnerControls"/>
    </i1b478372f814787abd313030b81fcb2>
    <b4224c12c78d42ea9b214de0badf8358 xmlns="230e9df3-be65-4c73-a93b-d1236ebd677e">
      <Terms xmlns="http://schemas.microsoft.com/office/infopath/2007/PartnerControls"/>
    </b4224c12c78d42ea9b214de0badf8358>
    <TaxCatchAll xmlns="230e9df3-be65-4c73-a93b-d1236ebd677e">
      <Value>16</Value>
      <Value>31</Value>
      <Value>29</Value>
      <Value>351</Value>
      <Value>26</Value>
      <Value>634</Value>
      <Value>5</Value>
      <Value>21</Value>
      <Value>20</Value>
      <Value>374</Value>
    </TaxCatchAll>
    <mb88723863e1404388ba3733387d48df xmlns="230e9df3-be65-4c73-a93b-d1236ebd677e">
      <Terms xmlns="http://schemas.microsoft.com/office/infopath/2007/PartnerControls"/>
    </mb88723863e1404388ba3733387d48df>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features</TermName>
          <TermId xmlns="http://schemas.microsoft.com/office/infopath/2007/PartnerControls">94b87768-f145-4764-adbd-fec700e47348</TermId>
        </TermInfo>
      </Terms>
    </m6c7b4717b6346e6a075a59dd47eac69>
    <kf34bcdc8fc34e479d3f94c6210e8e27 xmlns="230e9df3-be65-4c73-a93b-d1236ebd677e">
      <Terms xmlns="http://schemas.microsoft.com/office/infopath/2007/PartnerControls"/>
    </kf34bcdc8fc34e479d3f94c6210e8e27>
    <GenericText2 xmlns="230e9df3-be65-4c73-a93b-d1236ebd677e">G01KC-1-15426</GenericText2>
    <_dlc_DocId xmlns="230e9df3-be65-4c73-a93b-d1236ebd677e">G01KC-99682991-15440</_dlc_DocId>
    <_dlc_DocIdUrl xmlns="230e9df3-be65-4c73-a93b-d1236ebd677e">
      <Url>https://microsoft.sharepoint.com/sites/Infopedia_G01KC/_layouts/15/DocIdRedir.aspx?ID=G01KC-99682991-15440</Url>
      <Description>G01KC-99682991-15440</Description>
    </_dlc_DocIdUrl>
    <Update_x0020_Parent_x0020_Child_x0020_Relation_x0028_1_x0029_0 xmlns="b3bc04a5-d503-43b1-b98c-a8cf663329d9">
      <Url xsi:nil="true"/>
      <Description xsi:nil="true"/>
    </Update_x0020_Parent_x0020_Child_x0020_Relation_x0028_1_x0029_0>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SMSG KM Document" ma:contentTypeID="0x0101000E4CB7077FEE4FF7AE86D4A500EEC7800300F96E2758736AEF45AFCE0C190C2A9DEC00CC074746C0EF6D439A06F1AAD31A3C2B" ma:contentTypeVersion="38" ma:contentTypeDescription="A document content type used by Infopedia." ma:contentTypeScope="" ma:versionID="7d9d53f70d38645e8621fbd08ffddb2c">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xmlns:ns5="2478d1b8-79bf-461f-b8e8-704d21601f1a" targetNamespace="http://schemas.microsoft.com/office/2006/metadata/properties" ma:root="true" ma:fieldsID="9a77a5e8e350a74f32184f83bf56ab11" ns1:_="" ns2:_="" ns3:_="" ns4:_="" ns5:_="">
    <xsd:import namespace="http://schemas.microsoft.com/sharepoint/v3"/>
    <xsd:import namespace="230e9df3-be65-4c73-a93b-d1236ebd677e"/>
    <xsd:import namespace="230E9DF3-BE65-4C73-A93B-D1236EBD677E"/>
    <xsd:import namespace="b3bc04a5-d503-43b1-b98c-a8cf663329d9"/>
    <xsd:import namespace="2478d1b8-79bf-461f-b8e8-704d21601f1a"/>
    <xsd:element name="properties">
      <xsd:complexType>
        <xsd:sequence>
          <xsd:element name="documentManagement">
            <xsd:complexType>
              <xsd:all>
                <xsd:element ref="ns1:RoutingRuleDescription" minOccurs="0"/>
                <xsd:element ref="ns2:DocumentDescription" minOccurs="0"/>
                <xsd:element ref="ns2:Owner"/>
                <xsd:element ref="ns3:PublishDate" minOccurs="0"/>
                <xsd:element ref="ns1:PublishingPageContent" minOccurs="0"/>
                <xsd:element ref="ns2:Thumbnail1" minOccurs="0"/>
                <xsd:element ref="ns1:AverageRating" minOccurs="0"/>
                <xsd:element ref="ns1:RatingCount" minOccurs="0"/>
                <xsd:element ref="ns1:PublishingExpirationDate" minOccurs="0"/>
                <xsd:element ref="ns3:ApplyWorkflowRules" minOccurs="0"/>
                <xsd:element ref="ns2:ContentID" minOccurs="0"/>
                <xsd:element ref="ns2:Blog_x0020_Name" minOccurs="0"/>
                <xsd:element ref="ns2:hd9637eefc984b85b6097c6374e15725" minOccurs="0"/>
                <xsd:element ref="ns2:TaxCatchAll" minOccurs="0"/>
                <xsd:element ref="ns2:TaxCatchAllLabel" minOccurs="0"/>
                <xsd:element ref="ns2:b4224c12c78d42ea9b214de0badf8358" minOccurs="0"/>
                <xsd:element ref="ns2:_dlc_DocId" minOccurs="0"/>
                <xsd:element ref="ns2:TaxKeywordTaxHTField" minOccurs="0"/>
                <xsd:element ref="ns2:_dlc_DocIdUrl" minOccurs="0"/>
                <xsd:element ref="ns2:_dlc_DocIdPersistId" minOccurs="0"/>
                <xsd:element ref="ns1:ReportOwner" minOccurs="0"/>
                <xsd:element ref="ns2:m6d26e40ac264097a006193f92232ece" minOccurs="0"/>
                <xsd:element ref="ns2:ConfidentialityTaxHTField0" minOccurs="0"/>
                <xsd:element ref="ns2:od9986d31974458fb3007746ec0bce5f" minOccurs="0"/>
                <xsd:element ref="ns2:bf80e81150e248c48aa8cffdf0021a1f" minOccurs="0"/>
                <xsd:element ref="ns2:mb88723863e1404388ba3733387d48df" minOccurs="0"/>
                <xsd:element ref="ns2:l3c3ea61849e4288a8acc49bb5388e8c" minOccurs="0"/>
                <xsd:element ref="ns2:i0d941ee1e744ffea7aeee9924c91cbb" minOccurs="0"/>
                <xsd:element ref="ns2:i1b478372f814787abd313030b81fcb2" minOccurs="0"/>
                <xsd:element ref="ns2:Coowner" minOccurs="0"/>
                <xsd:element ref="ns2:k21a64daf20d4502b2796a1c6b8ce6c8" minOccurs="0"/>
                <xsd:element ref="ns2:b60f8d2dbb984f349d80d8196897f4d3" minOccurs="0"/>
                <xsd:element ref="ns2:ec5b2ad5c27b45fb8a00a1f27c7ce1ae" minOccurs="0"/>
                <xsd:element ref="ns2:m6c7b4717b6346e6a075a59dd47eac69" minOccurs="0"/>
                <xsd:element ref="ns2:kf34bcdc8fc34e479d3f94c6210e8e27" minOccurs="0"/>
                <xsd:element ref="ns2:ef109fd36bcf4bcd9dd945731030600b" minOccurs="0"/>
                <xsd:element ref="ns2:eb54ac91059940029a3cc8a4ff5af673" minOccurs="0"/>
                <xsd:element ref="ns2:k20e0dfa74bf4e44818db03027b0ccd8" minOccurs="0"/>
                <xsd:element ref="ns2:GenericText2" minOccurs="0"/>
                <xsd:element ref="ns2:GenericHTML1" minOccurs="0"/>
                <xsd:element ref="ns4:Update_x0020_Parent_x0020_Child_x0020_Relation_x0028_1_x0029_0" minOccurs="0"/>
                <xsd:element ref="ns1:_ip_UnifiedCompliancePolicyProperties" minOccurs="0"/>
                <xsd:element ref="ns1:_ip_UnifiedCompliancePolicyUIAction" minOccurs="0"/>
                <xsd:element ref="ns5:LastSharedByUser" minOccurs="0"/>
                <xsd:element ref="ns5: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description="" ma:hidden="true" ma:internalName="RoutingRuleDescription" ma:readOnly="false">
      <xsd:simpleType>
        <xsd:restriction base="dms:Text">
          <xsd:maxLength value="255"/>
        </xsd:restriction>
      </xsd:simpleType>
    </xsd:element>
    <xsd:element name="PublishingPageContent" ma:index="9" nillable="true" ma:displayName="Page Content" ma:description="Page Content is a site column created by the Publishing feature. It is used on the Article Page Content Type as the content of the page." ma:internalName="PublishingPageContent" ma:readOnly="false">
      <xsd:simpleType>
        <xsd:restriction base="dms:Unknown"/>
      </xsd:simpleType>
    </xsd:element>
    <xsd:element name="AverageRating" ma:index="13" nillable="true" ma:displayName="Rating (0-5)" ma:decimals="2" ma:description="Average value of all the ratings that have been submitted" ma:internalName="AverageRating" ma:readOnly="false">
      <xsd:simpleType>
        <xsd:restriction base="dms:Number"/>
      </xsd:simpleType>
    </xsd:element>
    <xsd:element name="RatingCount" ma:index="14" nillable="true" ma:displayName="Number of Ratings" ma:decimals="0" ma:description="Number of ratings submitted" ma:internalName="RatingCount" ma:readOnly="false">
      <xsd:simpleType>
        <xsd:restriction base="dms:Number"/>
      </xsd:simpleType>
    </xsd:element>
    <xsd:element name="PublishingExpirationDate" ma:index="17" nillable="true" ma:displayName="Scheduling End Date" ma:description="Scheduling End Date is a site column created by the Publishing feature. It is used to specify the date and time on which this page will no longer appear to site visitors." ma:internalName="PublishingExpirationDate" ma:readOnly="false">
      <xsd:simpleType>
        <xsd:restriction base="dms:Unknown"/>
      </xsd:simpleType>
    </xsd:element>
    <xsd:element name="ReportOwner" ma:index="33"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ip_UnifiedCompliancePolicyProperties" ma:index="69" nillable="true" ma:displayName="Unified Compliance Policy Properties" ma:hidden="true" ma:internalName="_ip_UnifiedCompliancePolicyProperties">
      <xsd:simpleType>
        <xsd:restriction base="dms:Note"/>
      </xsd:simpleType>
    </xsd:element>
    <xsd:element name="_ip_UnifiedCompliancePolicyUIAction" ma:index="7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Thumbnail1" ma:index="10"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9" nillable="true" ma:displayName="ContentID" ma:indexed="true" ma:internalName="ContentID">
      <xsd:simpleType>
        <xsd:restriction base="dms:Text">
          <xsd:maxLength value="255"/>
        </xsd:restriction>
      </xsd:simpleType>
    </xsd:element>
    <xsd:element name="Blog_x0020_Name" ma:index="20" nillable="true" ma:displayName="Blog Name" ma:description="Title of an Infopedia Blog" ma:internalName="Blog_x0020_Name">
      <xsd:simpleType>
        <xsd:restriction base="dms:Text">
          <xsd:maxLength value="255"/>
        </xsd:restriction>
      </xsd:simpleType>
    </xsd:element>
    <xsd:element name="hd9637eefc984b85b6097c6374e15725" ma:index="22"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TaxCatchAll" ma:index="2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TaxCatchAllLabel" ma:index="25"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4224c12c78d42ea9b214de0badf8358" ma:index="27"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28" nillable="true" ma:displayName="Document ID Value" ma:description="The value of the document ID assigned to this item." ma:indexed="true" ma:internalName="_dlc_DocId" ma:readOnly="true">
      <xsd:simpleType>
        <xsd:restriction base="dms:Text"/>
      </xsd:simpleType>
    </xsd:element>
    <xsd:element name="TaxKeywordTaxHTField" ma:index="29"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_dlc_DocIdUrl" ma:index="3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2" nillable="true" ma:displayName="Persist ID" ma:description="Keep ID on add." ma:hidden="true" ma:internalName="_dlc_DocIdPersistId" ma:readOnly="true">
      <xsd:simpleType>
        <xsd:restriction base="dms:Boolean"/>
      </xsd:simpleType>
    </xsd:element>
    <xsd:element name="m6d26e40ac264097a006193f92232ece" ma:index="35"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ConfidentialityTaxHTField0" ma:index="36" ma:taxonomy="true" ma:internalName="ConfidentialityTaxHTField0" ma:taxonomyFieldName="Confidentiality" ma:displayName="Confidentiality" ma:default="5;#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od9986d31974458fb3007746ec0bce5f" ma:index="37"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mb88723863e1404388ba3733387d48df" ma:index="41"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l3c3ea61849e4288a8acc49bb5388e8c" ma:index="43"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i0d941ee1e744ffea7aeee9924c91cbb" ma:index="45"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Coowner" ma:index="49"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k21a64daf20d4502b2796a1c6b8ce6c8" ma:index="50"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b60f8d2dbb984f349d80d8196897f4d3" ma:index="52"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ec5b2ad5c27b45fb8a00a1f27c7ce1ae" ma:index="54"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m6c7b4717b6346e6a075a59dd47eac69" ma:index="56"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kf34bcdc8fc34e479d3f94c6210e8e27" ma:index="58"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ef109fd36bcf4bcd9dd945731030600b" ma:index="60"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eb54ac91059940029a3cc8a4ff5af673" ma:index="62"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k20e0dfa74bf4e44818db03027b0ccd8" ma:index="64"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GenericText2" ma:index="66" nillable="true" ma:displayName="GenericText2" ma:description="Generic field for future features in implementation" ma:internalName="GenericText2">
      <xsd:simpleType>
        <xsd:restriction base="dms:Text">
          <xsd:maxLength value="255"/>
        </xsd:restriction>
      </xsd:simpleType>
    </xsd:element>
    <xsd:element name="GenericHTML1" ma:index="67" nillable="true" ma:displayName="GenericHTML1" ma:description="Generic field for future features in implementation" ma:internalName="GenericHTML1">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ma:readOnly="false">
      <xsd:simpleType>
        <xsd:restriction base="dms:DateTime"/>
      </xsd:simpleType>
    </xsd:element>
    <xsd:element name="ApplyWorkflowRules" ma:index="18"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Update_x0020_Parent_x0020_Child_x0020_Relation_x0028_1_x0029_0" ma:index="68" nillable="true" ma:displayName="Update Parent Child Relation" ma:internalName="Update_x0020_Parent_x0020_Child_x0020_Relation_x0028_1_x0029_0">
      <xsd:complexType>
        <xsd:complexContent>
          <xsd:extension base="dms:URL">
            <xsd:sequence>
              <xsd:element name="Url" type="dms:ValidUrl" minOccurs="0" nillable="true"/>
              <xsd:element name="Description" type="xsd:string"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478d1b8-79bf-461f-b8e8-704d21601f1a" elementFormDefault="qualified">
    <xsd:import namespace="http://schemas.microsoft.com/office/2006/documentManagement/types"/>
    <xsd:import namespace="http://schemas.microsoft.com/office/infopath/2007/PartnerControls"/>
    <xsd:element name="LastSharedByUser" ma:index="71" nillable="true" ma:displayName="Last Shared By User" ma:description="" ma:internalName="LastSharedByUser" ma:readOnly="true">
      <xsd:simpleType>
        <xsd:restriction base="dms:Note">
          <xsd:maxLength value="255"/>
        </xsd:restriction>
      </xsd:simpleType>
    </xsd:element>
    <xsd:element name="LastSharedByTime" ma:index="72"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6"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4C3A4C9-38CB-472C-A32F-6B3049F065ED}">
  <ds:schemaRefs>
    <ds:schemaRef ds:uri="http://schemas.microsoft.com/office/2006/metadata/properties"/>
    <ds:schemaRef ds:uri="http://schemas.microsoft.com/office/infopath/2007/PartnerControls"/>
    <ds:schemaRef ds:uri="230e9df3-be65-4c73-a93b-d1236ebd677e"/>
    <ds:schemaRef ds:uri="230E9DF3-BE65-4C73-A93B-D1236EBD677E"/>
    <ds:schemaRef ds:uri="http://schemas.microsoft.com/sharepoint/v3"/>
    <ds:schemaRef ds:uri="b3bc04a5-d503-43b1-b98c-a8cf663329d9"/>
  </ds:schemaRefs>
</ds:datastoreItem>
</file>

<file path=customXml/itemProps2.xml><?xml version="1.0" encoding="utf-8"?>
<ds:datastoreItem xmlns:ds="http://schemas.openxmlformats.org/officeDocument/2006/customXml" ds:itemID="{CB164CEE-A6F4-43CF-A590-8F9BF903A6E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2478d1b8-79bf-461f-b8e8-704d21601f1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E65705E-A5CC-4EBE-BDE6-77FD4EFB9BA1}">
  <ds:schemaRefs>
    <ds:schemaRef ds:uri="http://schemas.microsoft.com/sharepoint/events"/>
  </ds:schemaRefs>
</ds:datastoreItem>
</file>

<file path=customXml/itemProps4.xml><?xml version="1.0" encoding="utf-8"?>
<ds:datastoreItem xmlns:ds="http://schemas.openxmlformats.org/officeDocument/2006/customXml" ds:itemID="{D24C5BAF-F6EA-4893-9100-079C094F85D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9213</TotalTime>
  <Words>2587</Words>
  <Application>Microsoft Office PowerPoint</Application>
  <PresentationFormat>Widescreen</PresentationFormat>
  <Paragraphs>216</Paragraphs>
  <Slides>28</Slides>
  <Notes>22</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28</vt:i4>
      </vt:variant>
    </vt:vector>
  </HeadingPairs>
  <TitlesOfParts>
    <vt:vector size="42" baseType="lpstr">
      <vt:lpstr>MS PGothic</vt:lpstr>
      <vt:lpstr>MS PGothic</vt:lpstr>
      <vt:lpstr>Arial</vt:lpstr>
      <vt:lpstr>Calibri</vt:lpstr>
      <vt:lpstr>Consolas</vt:lpstr>
      <vt:lpstr>Perpetua</vt:lpstr>
      <vt:lpstr>Segoe UI</vt:lpstr>
      <vt:lpstr>Segoe UI Light</vt:lpstr>
      <vt:lpstr>Segoe UI Semibold</vt:lpstr>
      <vt:lpstr>Wingdings</vt:lpstr>
      <vt:lpstr>5-30721_Build_2016_Template_Light</vt:lpstr>
      <vt:lpstr>1_Azure Medium</vt:lpstr>
      <vt:lpstr>Azure Medium</vt:lpstr>
      <vt:lpstr>think-cell Slide</vt:lpstr>
      <vt:lpstr>Data Science &amp;  Azure Machine Learning For Beginners</vt:lpstr>
      <vt:lpstr>PowerPoint Presentation</vt:lpstr>
      <vt:lpstr>The opportunity is bigger than you  may think </vt:lpstr>
      <vt:lpstr>Data Science</vt:lpstr>
      <vt:lpstr>[main] How does it work?</vt:lpstr>
      <vt:lpstr>[main] 5 questions data science can answer </vt:lpstr>
      <vt:lpstr>PowerPoint Presentation</vt:lpstr>
      <vt:lpstr>PowerPoint Presentation</vt:lpstr>
      <vt:lpstr>PowerPoint Presentation</vt:lpstr>
      <vt:lpstr>PowerPoint Presentation</vt:lpstr>
      <vt:lpstr>PowerPoint Presentation</vt:lpstr>
      <vt:lpstr>[main] Is your data ready?</vt:lpstr>
      <vt:lpstr>PowerPoint Presentation</vt:lpstr>
      <vt:lpstr>PowerPoint Presentation</vt:lpstr>
      <vt:lpstr>PowerPoint Presentation</vt:lpstr>
      <vt:lpstr>PowerPoint Presentation</vt:lpstr>
      <vt:lpstr>PowerPoint Presentation</vt:lpstr>
      <vt:lpstr>[main] Asking the right questions</vt:lpstr>
      <vt:lpstr>PowerPoint Presentation</vt:lpstr>
      <vt:lpstr>Simple algorithm – Linear regression</vt:lpstr>
      <vt:lpstr>PowerPoint Presentation</vt:lpstr>
      <vt:lpstr>PowerPoint Presentation</vt:lpstr>
      <vt:lpstr>PowerPoint Presentation</vt:lpstr>
      <vt:lpstr>What can Azure ML do for you…? </vt:lpstr>
      <vt:lpstr>Microsoft Azure Machine Learning</vt:lpstr>
      <vt:lpstr>Why?</vt:lpstr>
      <vt:lpstr>Azure Machine Learning Service Data -&gt; Predictive model -&gt; Operational web API in minutes</vt:lpstr>
      <vt:lpstr>HOL</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ot Framework Overview Deck</dc:title>
  <dc:creator>Lili Cheng;Colleen Estrada</dc:creator>
  <cp:keywords/>
  <cp:lastModifiedBy>James Lee</cp:lastModifiedBy>
  <cp:revision>293</cp:revision>
  <dcterms:created xsi:type="dcterms:W3CDTF">2016-03-14T15:59:37Z</dcterms:created>
  <dcterms:modified xsi:type="dcterms:W3CDTF">2017-05-24T18:21: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F96E2758736AEF45AFCE0C190C2A9DEC00CC074746C0EF6D439A06F1AAD31A3C2B</vt:lpwstr>
  </property>
  <property fmtid="{D5CDD505-2E9C-101B-9397-08002B2CF9AE}" pid="3" name="TaxKeyword">
    <vt:lpwstr/>
  </property>
  <property fmtid="{D5CDD505-2E9C-101B-9397-08002B2CF9AE}" pid="4" name="Audiences">
    <vt:lpwstr/>
  </property>
  <property fmtid="{D5CDD505-2E9C-101B-9397-08002B2CF9AE}" pid="5" name="Region">
    <vt:lpwstr/>
  </property>
  <property fmtid="{D5CDD505-2E9C-101B-9397-08002B2CF9AE}" pid="6" name="Confidentiality">
    <vt:lpwstr>5;#Microsoft confidential|461efa83-0283-486a-a8d5-943328f3693f</vt:lpwstr>
  </property>
  <property fmtid="{D5CDD505-2E9C-101B-9397-08002B2CF9AE}" pid="7" name="Topics">
    <vt:lpwstr>29;#features|94b87768-f145-4764-adbd-fec700e47348</vt:lpwstr>
  </property>
  <property fmtid="{D5CDD505-2E9C-101B-9397-08002B2CF9AE}" pid="8" name="Groups">
    <vt:lpwstr>31;#Microsoft Azure Marketing|0958c357-5252-473f-8b4e-42f27525a99d</vt:lpwstr>
  </property>
  <property fmtid="{D5CDD505-2E9C-101B-9397-08002B2CF9AE}" pid="9" name="Industries">
    <vt:lpwstr/>
  </property>
  <property fmtid="{D5CDD505-2E9C-101B-9397-08002B2CF9AE}" pid="10" name="Roles">
    <vt:lpwstr/>
  </property>
  <property fmtid="{D5CDD505-2E9C-101B-9397-08002B2CF9AE}" pid="11" name="Competitors">
    <vt:lpwstr/>
  </property>
  <property fmtid="{D5CDD505-2E9C-101B-9397-08002B2CF9AE}" pid="12" name="SMSGDomain">
    <vt:lpwstr>21;#Cloud and Enterprise|adc2fe87-c79a-4ded-a449-3f86b954069d;#20;#Microsoft Azure Domain|d600a391-d529-4311-892b-2c05c1ab2538</vt:lpwstr>
  </property>
  <property fmtid="{D5CDD505-2E9C-101B-9397-08002B2CF9AE}" pid="13" name="BusinessArchitecture">
    <vt:lpwstr>374;#machine learning|912b89bd-3197-4d37-838b-dea3c299099a</vt:lpwstr>
  </property>
  <property fmtid="{D5CDD505-2E9C-101B-9397-08002B2CF9AE}" pid="14" name="Products">
    <vt:lpwstr>26;#Microsoft Azure|669a3112-5edf-444b-a003-630063601f07;#634;#Cortana|9ddf2d0d-10f8-4f45-a03c-9a1a5aa2df6a</vt:lpwstr>
  </property>
  <property fmtid="{D5CDD505-2E9C-101B-9397-08002B2CF9AE}" pid="15" name="ActivitiesAndPrograms">
    <vt:lpwstr/>
  </property>
  <property fmtid="{D5CDD505-2E9C-101B-9397-08002B2CF9AE}" pid="16" name="Segments">
    <vt:lpwstr/>
  </property>
  <property fmtid="{D5CDD505-2E9C-101B-9397-08002B2CF9AE}" pid="17" name="Partners">
    <vt:lpwstr/>
  </property>
  <property fmtid="{D5CDD505-2E9C-101B-9397-08002B2CF9AE}" pid="18" name="_dlc_policyId">
    <vt:lpwstr/>
  </property>
  <property fmtid="{D5CDD505-2E9C-101B-9397-08002B2CF9AE}" pid="19" name="ItemRetentionFormula">
    <vt:lpwstr/>
  </property>
  <property fmtid="{D5CDD505-2E9C-101B-9397-08002B2CF9AE}" pid="20" name="_dlc_DocIdItemGuid">
    <vt:lpwstr>2c99bc93-f34a-44a9-bcf6-0291b8064775</vt:lpwstr>
  </property>
  <property fmtid="{D5CDD505-2E9C-101B-9397-08002B2CF9AE}" pid="21" name="of67e5d4b76f4a9db8769983fda9cec0">
    <vt:lpwstr/>
  </property>
  <property fmtid="{D5CDD505-2E9C-101B-9397-08002B2CF9AE}" pid="22" name="NewsType">
    <vt:lpwstr/>
  </property>
  <property fmtid="{D5CDD505-2E9C-101B-9397-08002B2CF9AE}" pid="23" name="ItemType">
    <vt:lpwstr>16;#customer presentations|18e9ae94-e321-4eea-82d2-ad5b2f470f3c;#351;#feedback requests|00ce1828-98a3-430e-af54-eda270e1be04</vt:lpwstr>
  </property>
  <property fmtid="{D5CDD505-2E9C-101B-9397-08002B2CF9AE}" pid="24" name="ga0c0bf70a6644469c61b3efa7025301">
    <vt:lpwstr/>
  </property>
  <property fmtid="{D5CDD505-2E9C-101B-9397-08002B2CF9AE}" pid="25" name="MSProducts">
    <vt:lpwstr/>
  </property>
  <property fmtid="{D5CDD505-2E9C-101B-9397-08002B2CF9AE}" pid="26" name="ExperienceContentType">
    <vt:lpwstr/>
  </property>
  <property fmtid="{D5CDD505-2E9C-101B-9397-08002B2CF9AE}" pid="27" name="NewsSource">
    <vt:lpwstr/>
  </property>
  <property fmtid="{D5CDD505-2E9C-101B-9397-08002B2CF9AE}" pid="28" name="SMSGTags">
    <vt:lpwstr/>
  </property>
  <property fmtid="{D5CDD505-2E9C-101B-9397-08002B2CF9AE}" pid="29" name="MSPhysicalGeography">
    <vt:lpwstr/>
  </property>
  <property fmtid="{D5CDD505-2E9C-101B-9397-08002B2CF9AE}" pid="30" name="EnterpriseDomainTags">
    <vt:lpwstr/>
  </property>
  <property fmtid="{D5CDD505-2E9C-101B-9397-08002B2CF9AE}" pid="31" name="j3562c58ee414e028925bc902cfc01a1">
    <vt:lpwstr/>
  </property>
  <property fmtid="{D5CDD505-2E9C-101B-9397-08002B2CF9AE}" pid="32" name="l6f004f21209409da86a713c0f24627d">
    <vt:lpwstr/>
  </property>
  <property fmtid="{D5CDD505-2E9C-101B-9397-08002B2CF9AE}" pid="33" name="la4444b61d19467597d63190b69ac227">
    <vt:lpwstr/>
  </property>
  <property fmtid="{D5CDD505-2E9C-101B-9397-08002B2CF9AE}" pid="34" name="MSProductsTaxHTField0">
    <vt:lpwstr/>
  </property>
  <property fmtid="{D5CDD505-2E9C-101B-9397-08002B2CF9AE}" pid="35" name="Languages">
    <vt:lpwstr/>
  </property>
  <property fmtid="{D5CDD505-2E9C-101B-9397-08002B2CF9AE}" pid="36" name="e8080b0481964c759b2c36ae49591b31">
    <vt:lpwstr/>
  </property>
  <property fmtid="{D5CDD505-2E9C-101B-9397-08002B2CF9AE}" pid="37" name="TechnicalLevel">
    <vt:lpwstr/>
  </property>
  <property fmtid="{D5CDD505-2E9C-101B-9397-08002B2CF9AE}" pid="38" name="ldac8aee9d1f469e8cd8c3f8d6a615f2">
    <vt:lpwstr/>
  </property>
  <property fmtid="{D5CDD505-2E9C-101B-9397-08002B2CF9AE}" pid="39" name="EmployeeRole">
    <vt:lpwstr/>
  </property>
  <property fmtid="{D5CDD505-2E9C-101B-9397-08002B2CF9AE}" pid="40" name="NewsTopic">
    <vt:lpwstr/>
  </property>
  <property fmtid="{D5CDD505-2E9C-101B-9397-08002B2CF9AE}" pid="41" name="_docset_NoMedatataSyncRequired">
    <vt:lpwstr>False</vt:lpwstr>
  </property>
</Properties>
</file>